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C2C6EA-4625-4B71-8B36-BA8B2EA63D0C}" v="10" dt="2024-09-19T10:02:22.5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Dhruw, Kabir SBOBNG-PTIV/LC" userId="b937d6d8-898d-4cbe-9fd6-c82dbbaafd5f" providerId="ADAL" clId="{67EC033C-D546-4E17-BC4A-EE213DD5A99F}"/>
    <pc:docChg chg="custSel modSld">
      <pc:chgData name="Dhruw, Kabir SBOBNG-PTIV/LC" userId="b937d6d8-898d-4cbe-9fd6-c82dbbaafd5f" providerId="ADAL" clId="{67EC033C-D546-4E17-BC4A-EE213DD5A99F}" dt="2024-09-14T05:38:39.185" v="972" actId="20577"/>
      <pc:docMkLst>
        <pc:docMk/>
      </pc:docMkLst>
      <pc:sldChg chg="modSp mod">
        <pc:chgData name="Dhruw, Kabir SBOBNG-PTIV/LC" userId="b937d6d8-898d-4cbe-9fd6-c82dbbaafd5f" providerId="ADAL" clId="{67EC033C-D546-4E17-BC4A-EE213DD5A99F}" dt="2024-09-14T03:27:41.348" v="7" actId="20577"/>
        <pc:sldMkLst>
          <pc:docMk/>
          <pc:sldMk cId="3267775274" sldId="256"/>
        </pc:sldMkLst>
        <pc:spChg chg="mod">
          <ac:chgData name="Dhruw, Kabir SBOBNG-PTIV/LC" userId="b937d6d8-898d-4cbe-9fd6-c82dbbaafd5f" providerId="ADAL" clId="{67EC033C-D546-4E17-BC4A-EE213DD5A99F}" dt="2024-09-14T03:27:41.348" v="7" actId="20577"/>
          <ac:spMkLst>
            <pc:docMk/>
            <pc:sldMk cId="3267775274" sldId="256"/>
            <ac:spMk id="6" creationId="{0C37A4A8-A3C7-407F-B123-88E2E165C827}"/>
          </ac:spMkLst>
        </pc:spChg>
        <pc:spChg chg="mod">
          <ac:chgData name="Dhruw, Kabir SBOBNG-PTIV/LC" userId="b937d6d8-898d-4cbe-9fd6-c82dbbaafd5f" providerId="ADAL" clId="{67EC033C-D546-4E17-BC4A-EE213DD5A99F}" dt="2024-09-14T03:27:32.479" v="3" actId="20577"/>
          <ac:spMkLst>
            <pc:docMk/>
            <pc:sldMk cId="3267775274" sldId="256"/>
            <ac:spMk id="13" creationId="{C48F8DD6-A1B3-8126-FAC3-218B712C7FFB}"/>
          </ac:spMkLst>
        </pc:spChg>
      </pc:sldChg>
      <pc:sldChg chg="addSp delSp modSp mod">
        <pc:chgData name="Dhruw, Kabir SBOBNG-PTIV/LC" userId="b937d6d8-898d-4cbe-9fd6-c82dbbaafd5f" providerId="ADAL" clId="{67EC033C-D546-4E17-BC4A-EE213DD5A99F}" dt="2024-09-14T05:27:24.370" v="871" actId="1076"/>
        <pc:sldMkLst>
          <pc:docMk/>
          <pc:sldMk cId="245881457" sldId="2147375597"/>
        </pc:sldMkLst>
        <pc:spChg chg="mod">
          <ac:chgData name="Dhruw, Kabir SBOBNG-PTIV/LC" userId="b937d6d8-898d-4cbe-9fd6-c82dbbaafd5f" providerId="ADAL" clId="{67EC033C-D546-4E17-BC4A-EE213DD5A99F}" dt="2024-09-14T03:30:18.109" v="30"/>
          <ac:spMkLst>
            <pc:docMk/>
            <pc:sldMk cId="245881457" sldId="2147375597"/>
            <ac:spMk id="11" creationId="{DE9F1BE0-7910-FA1B-DCE8-56EFD1E4FC09}"/>
          </ac:spMkLst>
        </pc:spChg>
        <pc:picChg chg="del">
          <ac:chgData name="Dhruw, Kabir SBOBNG-PTIV/LC" userId="b937d6d8-898d-4cbe-9fd6-c82dbbaafd5f" providerId="ADAL" clId="{67EC033C-D546-4E17-BC4A-EE213DD5A99F}" dt="2024-09-14T05:27:06.569" v="865" actId="478"/>
          <ac:picMkLst>
            <pc:docMk/>
            <pc:sldMk cId="245881457" sldId="2147375597"/>
            <ac:picMk id="5" creationId="{162204CB-E4F8-52CC-1A9A-4CDE87E130AB}"/>
          </ac:picMkLst>
        </pc:picChg>
        <pc:picChg chg="add mod">
          <ac:chgData name="Dhruw, Kabir SBOBNG-PTIV/LC" userId="b937d6d8-898d-4cbe-9fd6-c82dbbaafd5f" providerId="ADAL" clId="{67EC033C-D546-4E17-BC4A-EE213DD5A99F}" dt="2024-09-14T05:27:24.370" v="871" actId="1076"/>
          <ac:picMkLst>
            <pc:docMk/>
            <pc:sldMk cId="245881457" sldId="2147375597"/>
            <ac:picMk id="6" creationId="{B12A6FFD-1111-2C35-02D3-14A1E6D0E800}"/>
          </ac:picMkLst>
        </pc:picChg>
      </pc:sldChg>
      <pc:sldChg chg="addSp delSp modSp mod">
        <pc:chgData name="Dhruw, Kabir SBOBNG-PTIV/LC" userId="b937d6d8-898d-4cbe-9fd6-c82dbbaafd5f" providerId="ADAL" clId="{67EC033C-D546-4E17-BC4A-EE213DD5A99F}" dt="2024-09-14T05:28:28.429" v="878" actId="962"/>
        <pc:sldMkLst>
          <pc:docMk/>
          <pc:sldMk cId="1181112711" sldId="2147375600"/>
        </pc:sldMkLst>
        <pc:spChg chg="mod">
          <ac:chgData name="Dhruw, Kabir SBOBNG-PTIV/LC" userId="b937d6d8-898d-4cbe-9fd6-c82dbbaafd5f" providerId="ADAL" clId="{67EC033C-D546-4E17-BC4A-EE213DD5A99F}" dt="2024-09-14T03:34:50.008" v="45" actId="20577"/>
          <ac:spMkLst>
            <pc:docMk/>
            <pc:sldMk cId="1181112711" sldId="2147375600"/>
            <ac:spMk id="11" creationId="{DE9F1BE0-7910-FA1B-DCE8-56EFD1E4FC09}"/>
          </ac:spMkLst>
        </pc:spChg>
        <pc:picChg chg="add mod">
          <ac:chgData name="Dhruw, Kabir SBOBNG-PTIV/LC" userId="b937d6d8-898d-4cbe-9fd6-c82dbbaafd5f" providerId="ADAL" clId="{67EC033C-D546-4E17-BC4A-EE213DD5A99F}" dt="2024-09-14T05:28:28.429" v="878" actId="962"/>
          <ac:picMkLst>
            <pc:docMk/>
            <pc:sldMk cId="1181112711" sldId="2147375600"/>
            <ac:picMk id="5" creationId="{B60E5844-AC23-5657-09D9-6341F619D132}"/>
          </ac:picMkLst>
        </pc:picChg>
        <pc:picChg chg="del">
          <ac:chgData name="Dhruw, Kabir SBOBNG-PTIV/LC" userId="b937d6d8-898d-4cbe-9fd6-c82dbbaafd5f" providerId="ADAL" clId="{67EC033C-D546-4E17-BC4A-EE213DD5A99F}" dt="2024-09-14T05:28:14.618" v="872" actId="478"/>
          <ac:picMkLst>
            <pc:docMk/>
            <pc:sldMk cId="1181112711" sldId="2147375600"/>
            <ac:picMk id="6" creationId="{BBDCB883-410E-1C62-8185-C4BD8BAC1567}"/>
          </ac:picMkLst>
        </pc:picChg>
      </pc:sldChg>
      <pc:sldChg chg="addSp delSp modSp mod">
        <pc:chgData name="Dhruw, Kabir SBOBNG-PTIV/LC" userId="b937d6d8-898d-4cbe-9fd6-c82dbbaafd5f" providerId="ADAL" clId="{67EC033C-D546-4E17-BC4A-EE213DD5A99F}" dt="2024-09-14T05:29:48.418" v="886" actId="1076"/>
        <pc:sldMkLst>
          <pc:docMk/>
          <pc:sldMk cId="3233747587" sldId="2147375601"/>
        </pc:sldMkLst>
        <pc:spChg chg="add">
          <ac:chgData name="Dhruw, Kabir SBOBNG-PTIV/LC" userId="b937d6d8-898d-4cbe-9fd6-c82dbbaafd5f" providerId="ADAL" clId="{67EC033C-D546-4E17-BC4A-EE213DD5A99F}" dt="2024-09-14T03:37:49.953" v="48"/>
          <ac:spMkLst>
            <pc:docMk/>
            <pc:sldMk cId="3233747587" sldId="2147375601"/>
            <ac:spMk id="2" creationId="{E61AB7C5-8E1D-F2A9-76A8-87D68FAA1D4B}"/>
          </ac:spMkLst>
        </pc:spChg>
        <pc:spChg chg="add">
          <ac:chgData name="Dhruw, Kabir SBOBNG-PTIV/LC" userId="b937d6d8-898d-4cbe-9fd6-c82dbbaafd5f" providerId="ADAL" clId="{67EC033C-D546-4E17-BC4A-EE213DD5A99F}" dt="2024-09-14T03:37:53.490" v="50"/>
          <ac:spMkLst>
            <pc:docMk/>
            <pc:sldMk cId="3233747587" sldId="2147375601"/>
            <ac:spMk id="5" creationId="{511EDADC-4A26-7882-8299-ED270BAE51F3}"/>
          </ac:spMkLst>
        </pc:spChg>
        <pc:spChg chg="mod">
          <ac:chgData name="Dhruw, Kabir SBOBNG-PTIV/LC" userId="b937d6d8-898d-4cbe-9fd6-c82dbbaafd5f" providerId="ADAL" clId="{67EC033C-D546-4E17-BC4A-EE213DD5A99F}" dt="2024-09-14T03:38:05.693" v="52" actId="20577"/>
          <ac:spMkLst>
            <pc:docMk/>
            <pc:sldMk cId="3233747587" sldId="2147375601"/>
            <ac:spMk id="11" creationId="{DE9F1BE0-7910-FA1B-DCE8-56EFD1E4FC09}"/>
          </ac:spMkLst>
        </pc:spChg>
        <pc:picChg chg="del">
          <ac:chgData name="Dhruw, Kabir SBOBNG-PTIV/LC" userId="b937d6d8-898d-4cbe-9fd6-c82dbbaafd5f" providerId="ADAL" clId="{67EC033C-D546-4E17-BC4A-EE213DD5A99F}" dt="2024-09-14T05:28:30.766" v="879" actId="478"/>
          <ac:picMkLst>
            <pc:docMk/>
            <pc:sldMk cId="3233747587" sldId="2147375601"/>
            <ac:picMk id="6" creationId="{D6F6AD89-CF3B-68D2-FCBD-86484A89336D}"/>
          </ac:picMkLst>
        </pc:picChg>
        <pc:picChg chg="add mod">
          <ac:chgData name="Dhruw, Kabir SBOBNG-PTIV/LC" userId="b937d6d8-898d-4cbe-9fd6-c82dbbaafd5f" providerId="ADAL" clId="{67EC033C-D546-4E17-BC4A-EE213DD5A99F}" dt="2024-09-14T05:29:48.418" v="886" actId="1076"/>
          <ac:picMkLst>
            <pc:docMk/>
            <pc:sldMk cId="3233747587" sldId="2147375601"/>
            <ac:picMk id="13" creationId="{F631ECD4-C343-EC80-7637-CA51A4EE2AD9}"/>
          </ac:picMkLst>
        </pc:picChg>
      </pc:sldChg>
      <pc:sldChg chg="addSp delSp modSp mod">
        <pc:chgData name="Dhruw, Kabir SBOBNG-PTIV/LC" userId="b937d6d8-898d-4cbe-9fd6-c82dbbaafd5f" providerId="ADAL" clId="{67EC033C-D546-4E17-BC4A-EE213DD5A99F}" dt="2024-09-14T05:31:56.432" v="906" actId="1076"/>
        <pc:sldMkLst>
          <pc:docMk/>
          <pc:sldMk cId="3971512377" sldId="2147375603"/>
        </pc:sldMkLst>
        <pc:spChg chg="mod">
          <ac:chgData name="Dhruw, Kabir SBOBNG-PTIV/LC" userId="b937d6d8-898d-4cbe-9fd6-c82dbbaafd5f" providerId="ADAL" clId="{67EC033C-D546-4E17-BC4A-EE213DD5A99F}" dt="2024-09-14T03:31:43.902" v="37" actId="403"/>
          <ac:spMkLst>
            <pc:docMk/>
            <pc:sldMk cId="3971512377" sldId="2147375603"/>
            <ac:spMk id="11" creationId="{DE9F1BE0-7910-FA1B-DCE8-56EFD1E4FC09}"/>
          </ac:spMkLst>
        </pc:spChg>
        <pc:picChg chg="add mod">
          <ac:chgData name="Dhruw, Kabir SBOBNG-PTIV/LC" userId="b937d6d8-898d-4cbe-9fd6-c82dbbaafd5f" providerId="ADAL" clId="{67EC033C-D546-4E17-BC4A-EE213DD5A99F}" dt="2024-09-14T05:31:56.432" v="906" actId="1076"/>
          <ac:picMkLst>
            <pc:docMk/>
            <pc:sldMk cId="3971512377" sldId="2147375603"/>
            <ac:picMk id="6" creationId="{BBCF33F2-F1F7-E59E-88F9-39A5881474E1}"/>
          </ac:picMkLst>
        </pc:picChg>
        <pc:picChg chg="del">
          <ac:chgData name="Dhruw, Kabir SBOBNG-PTIV/LC" userId="b937d6d8-898d-4cbe-9fd6-c82dbbaafd5f" providerId="ADAL" clId="{67EC033C-D546-4E17-BC4A-EE213DD5A99F}" dt="2024-09-14T05:31:42.206" v="900" actId="478"/>
          <ac:picMkLst>
            <pc:docMk/>
            <pc:sldMk cId="3971512377" sldId="2147375603"/>
            <ac:picMk id="8" creationId="{D9CF7C67-8A12-AFF3-BD7C-A58B2FEA357B}"/>
          </ac:picMkLst>
        </pc:picChg>
      </pc:sldChg>
      <pc:sldChg chg="addSp delSp modSp mod">
        <pc:chgData name="Dhruw, Kabir SBOBNG-PTIV/LC" userId="b937d6d8-898d-4cbe-9fd6-c82dbbaafd5f" providerId="ADAL" clId="{67EC033C-D546-4E17-BC4A-EE213DD5A99F}" dt="2024-09-14T05:31:19.357" v="899" actId="14100"/>
        <pc:sldMkLst>
          <pc:docMk/>
          <pc:sldMk cId="3179805674" sldId="2147375604"/>
        </pc:sldMkLst>
        <pc:spChg chg="mod">
          <ac:chgData name="Dhruw, Kabir SBOBNG-PTIV/LC" userId="b937d6d8-898d-4cbe-9fd6-c82dbbaafd5f" providerId="ADAL" clId="{67EC033C-D546-4E17-BC4A-EE213DD5A99F}" dt="2024-09-14T03:36:00.319" v="46"/>
          <ac:spMkLst>
            <pc:docMk/>
            <pc:sldMk cId="3179805674" sldId="2147375604"/>
            <ac:spMk id="11" creationId="{DE9F1BE0-7910-FA1B-DCE8-56EFD1E4FC09}"/>
          </ac:spMkLst>
        </pc:spChg>
        <pc:picChg chg="add mod">
          <ac:chgData name="Dhruw, Kabir SBOBNG-PTIV/LC" userId="b937d6d8-898d-4cbe-9fd6-c82dbbaafd5f" providerId="ADAL" clId="{67EC033C-D546-4E17-BC4A-EE213DD5A99F}" dt="2024-09-14T05:31:19.357" v="899" actId="14100"/>
          <ac:picMkLst>
            <pc:docMk/>
            <pc:sldMk cId="3179805674" sldId="2147375604"/>
            <ac:picMk id="6" creationId="{A2758902-E56D-80E1-CA26-E87076C95308}"/>
          </ac:picMkLst>
        </pc:picChg>
        <pc:picChg chg="del">
          <ac:chgData name="Dhruw, Kabir SBOBNG-PTIV/LC" userId="b937d6d8-898d-4cbe-9fd6-c82dbbaafd5f" providerId="ADAL" clId="{67EC033C-D546-4E17-BC4A-EE213DD5A99F}" dt="2024-09-14T05:30:34.704" v="893" actId="478"/>
          <ac:picMkLst>
            <pc:docMk/>
            <pc:sldMk cId="3179805674" sldId="2147375604"/>
            <ac:picMk id="8" creationId="{C32D8F2D-7893-1160-0237-670673DDB4F9}"/>
          </ac:picMkLst>
        </pc:picChg>
      </pc:sldChg>
      <pc:sldChg chg="addSp delSp modSp mod">
        <pc:chgData name="Dhruw, Kabir SBOBNG-PTIV/LC" userId="b937d6d8-898d-4cbe-9fd6-c82dbbaafd5f" providerId="ADAL" clId="{67EC033C-D546-4E17-BC4A-EE213DD5A99F}" dt="2024-09-14T05:30:32.164" v="892" actId="1076"/>
        <pc:sldMkLst>
          <pc:docMk/>
          <pc:sldMk cId="86366928" sldId="2147375605"/>
        </pc:sldMkLst>
        <pc:spChg chg="add">
          <ac:chgData name="Dhruw, Kabir SBOBNG-PTIV/LC" userId="b937d6d8-898d-4cbe-9fd6-c82dbbaafd5f" providerId="ADAL" clId="{67EC033C-D546-4E17-BC4A-EE213DD5A99F}" dt="2024-09-14T03:38:52.542" v="53"/>
          <ac:spMkLst>
            <pc:docMk/>
            <pc:sldMk cId="86366928" sldId="2147375605"/>
            <ac:spMk id="2" creationId="{96CC0242-641D-2AA6-3E92-E2F3646F658B}"/>
          </ac:spMkLst>
        </pc:spChg>
        <pc:spChg chg="add">
          <ac:chgData name="Dhruw, Kabir SBOBNG-PTIV/LC" userId="b937d6d8-898d-4cbe-9fd6-c82dbbaafd5f" providerId="ADAL" clId="{67EC033C-D546-4E17-BC4A-EE213DD5A99F}" dt="2024-09-14T03:38:55.206" v="55"/>
          <ac:spMkLst>
            <pc:docMk/>
            <pc:sldMk cId="86366928" sldId="2147375605"/>
            <ac:spMk id="6" creationId="{4E806CEA-7416-38FC-EC5E-F095FD57480B}"/>
          </ac:spMkLst>
        </pc:spChg>
        <pc:spChg chg="mod">
          <ac:chgData name="Dhruw, Kabir SBOBNG-PTIV/LC" userId="b937d6d8-898d-4cbe-9fd6-c82dbbaafd5f" providerId="ADAL" clId="{67EC033C-D546-4E17-BC4A-EE213DD5A99F}" dt="2024-09-14T03:39:58.762" v="63" actId="20577"/>
          <ac:spMkLst>
            <pc:docMk/>
            <pc:sldMk cId="86366928" sldId="2147375605"/>
            <ac:spMk id="11" creationId="{DE9F1BE0-7910-FA1B-DCE8-56EFD1E4FC09}"/>
          </ac:spMkLst>
        </pc:spChg>
        <pc:picChg chg="del">
          <ac:chgData name="Dhruw, Kabir SBOBNG-PTIV/LC" userId="b937d6d8-898d-4cbe-9fd6-c82dbbaafd5f" providerId="ADAL" clId="{67EC033C-D546-4E17-BC4A-EE213DD5A99F}" dt="2024-09-14T05:30:18.546" v="887" actId="478"/>
          <ac:picMkLst>
            <pc:docMk/>
            <pc:sldMk cId="86366928" sldId="2147375605"/>
            <ac:picMk id="8" creationId="{FD8D0771-6278-7EF2-130A-192ADC183937}"/>
          </ac:picMkLst>
        </pc:picChg>
        <pc:picChg chg="add mod">
          <ac:chgData name="Dhruw, Kabir SBOBNG-PTIV/LC" userId="b937d6d8-898d-4cbe-9fd6-c82dbbaafd5f" providerId="ADAL" clId="{67EC033C-D546-4E17-BC4A-EE213DD5A99F}" dt="2024-09-14T05:30:32.164" v="892" actId="1076"/>
          <ac:picMkLst>
            <pc:docMk/>
            <pc:sldMk cId="86366928" sldId="2147375605"/>
            <ac:picMk id="13" creationId="{04F6F640-6064-D765-7B55-FFCDB157B08C}"/>
          </ac:picMkLst>
        </pc:picChg>
      </pc:sldChg>
      <pc:sldChg chg="addSp delSp modSp mod">
        <pc:chgData name="Dhruw, Kabir SBOBNG-PTIV/LC" userId="b937d6d8-898d-4cbe-9fd6-c82dbbaafd5f" providerId="ADAL" clId="{67EC033C-D546-4E17-BC4A-EE213DD5A99F}" dt="2024-09-14T05:32:47.093" v="910" actId="27614"/>
        <pc:sldMkLst>
          <pc:docMk/>
          <pc:sldMk cId="2340944189" sldId="2147375607"/>
        </pc:sldMkLst>
        <pc:spChg chg="mod">
          <ac:chgData name="Dhruw, Kabir SBOBNG-PTIV/LC" userId="b937d6d8-898d-4cbe-9fd6-c82dbbaafd5f" providerId="ADAL" clId="{67EC033C-D546-4E17-BC4A-EE213DD5A99F}" dt="2024-09-14T03:32:48.987" v="38"/>
          <ac:spMkLst>
            <pc:docMk/>
            <pc:sldMk cId="2340944189" sldId="2147375607"/>
            <ac:spMk id="11" creationId="{DE9F1BE0-7910-FA1B-DCE8-56EFD1E4FC09}"/>
          </ac:spMkLst>
        </pc:spChg>
        <pc:picChg chg="add mod">
          <ac:chgData name="Dhruw, Kabir SBOBNG-PTIV/LC" userId="b937d6d8-898d-4cbe-9fd6-c82dbbaafd5f" providerId="ADAL" clId="{67EC033C-D546-4E17-BC4A-EE213DD5A99F}" dt="2024-09-14T05:32:47.093" v="910" actId="27614"/>
          <ac:picMkLst>
            <pc:docMk/>
            <pc:sldMk cId="2340944189" sldId="2147375607"/>
            <ac:picMk id="6" creationId="{8A9DC4D5-2047-92FE-CA07-8983F44804E8}"/>
          </ac:picMkLst>
        </pc:picChg>
        <pc:picChg chg="del">
          <ac:chgData name="Dhruw, Kabir SBOBNG-PTIV/LC" userId="b937d6d8-898d-4cbe-9fd6-c82dbbaafd5f" providerId="ADAL" clId="{67EC033C-D546-4E17-BC4A-EE213DD5A99F}" dt="2024-09-14T05:32:32.247" v="907" actId="478"/>
          <ac:picMkLst>
            <pc:docMk/>
            <pc:sldMk cId="2340944189" sldId="2147375607"/>
            <ac:picMk id="15" creationId="{4CE535EE-6BF1-0FAD-300B-E8A6BD485577}"/>
          </ac:picMkLst>
        </pc:picChg>
      </pc:sldChg>
      <pc:sldChg chg="addSp delSp modSp mod">
        <pc:chgData name="Dhruw, Kabir SBOBNG-PTIV/LC" userId="b937d6d8-898d-4cbe-9fd6-c82dbbaafd5f" providerId="ADAL" clId="{67EC033C-D546-4E17-BC4A-EE213DD5A99F}" dt="2024-09-14T05:33:48.003" v="918" actId="1076"/>
        <pc:sldMkLst>
          <pc:docMk/>
          <pc:sldMk cId="3159148252" sldId="2147375608"/>
        </pc:sldMkLst>
        <pc:spChg chg="mod">
          <ac:chgData name="Dhruw, Kabir SBOBNG-PTIV/LC" userId="b937d6d8-898d-4cbe-9fd6-c82dbbaafd5f" providerId="ADAL" clId="{67EC033C-D546-4E17-BC4A-EE213DD5A99F}" dt="2024-09-14T03:36:44.921" v="47"/>
          <ac:spMkLst>
            <pc:docMk/>
            <pc:sldMk cId="3159148252" sldId="2147375608"/>
            <ac:spMk id="11" creationId="{DE9F1BE0-7910-FA1B-DCE8-56EFD1E4FC09}"/>
          </ac:spMkLst>
        </pc:spChg>
        <pc:picChg chg="add mod">
          <ac:chgData name="Dhruw, Kabir SBOBNG-PTIV/LC" userId="b937d6d8-898d-4cbe-9fd6-c82dbbaafd5f" providerId="ADAL" clId="{67EC033C-D546-4E17-BC4A-EE213DD5A99F}" dt="2024-09-14T05:33:48.003" v="918" actId="1076"/>
          <ac:picMkLst>
            <pc:docMk/>
            <pc:sldMk cId="3159148252" sldId="2147375608"/>
            <ac:picMk id="6" creationId="{17165E6C-3683-865D-F866-9F3D936D7070}"/>
          </ac:picMkLst>
        </pc:picChg>
        <pc:picChg chg="del">
          <ac:chgData name="Dhruw, Kabir SBOBNG-PTIV/LC" userId="b937d6d8-898d-4cbe-9fd6-c82dbbaafd5f" providerId="ADAL" clId="{67EC033C-D546-4E17-BC4A-EE213DD5A99F}" dt="2024-09-14T05:33:27.842" v="911" actId="478"/>
          <ac:picMkLst>
            <pc:docMk/>
            <pc:sldMk cId="3159148252" sldId="2147375608"/>
            <ac:picMk id="8" creationId="{A002F3C6-1A0F-18B0-4A5E-3C61A4353DAB}"/>
          </ac:picMkLst>
        </pc:picChg>
      </pc:sldChg>
      <pc:sldChg chg="addSp delSp modSp mod">
        <pc:chgData name="Dhruw, Kabir SBOBNG-PTIV/LC" userId="b937d6d8-898d-4cbe-9fd6-c82dbbaafd5f" providerId="ADAL" clId="{67EC033C-D546-4E17-BC4A-EE213DD5A99F}" dt="2024-09-14T05:34:48.435" v="927" actId="14100"/>
        <pc:sldMkLst>
          <pc:docMk/>
          <pc:sldMk cId="3070204084" sldId="2147375609"/>
        </pc:sldMkLst>
        <pc:spChg chg="mod">
          <ac:chgData name="Dhruw, Kabir SBOBNG-PTIV/LC" userId="b937d6d8-898d-4cbe-9fd6-c82dbbaafd5f" providerId="ADAL" clId="{67EC033C-D546-4E17-BC4A-EE213DD5A99F}" dt="2024-09-14T05:23:50.647" v="463" actId="33524"/>
          <ac:spMkLst>
            <pc:docMk/>
            <pc:sldMk cId="3070204084" sldId="2147375609"/>
            <ac:spMk id="11" creationId="{DE9F1BE0-7910-FA1B-DCE8-56EFD1E4FC09}"/>
          </ac:spMkLst>
        </pc:spChg>
        <pc:picChg chg="add mod">
          <ac:chgData name="Dhruw, Kabir SBOBNG-PTIV/LC" userId="b937d6d8-898d-4cbe-9fd6-c82dbbaafd5f" providerId="ADAL" clId="{67EC033C-D546-4E17-BC4A-EE213DD5A99F}" dt="2024-09-14T05:34:48.435" v="927" actId="14100"/>
          <ac:picMkLst>
            <pc:docMk/>
            <pc:sldMk cId="3070204084" sldId="2147375609"/>
            <ac:picMk id="6" creationId="{DDE175A1-EE97-5218-DD25-EC259AE717CA}"/>
          </ac:picMkLst>
        </pc:picChg>
        <pc:picChg chg="del">
          <ac:chgData name="Dhruw, Kabir SBOBNG-PTIV/LC" userId="b937d6d8-898d-4cbe-9fd6-c82dbbaafd5f" providerId="ADAL" clId="{67EC033C-D546-4E17-BC4A-EE213DD5A99F}" dt="2024-09-14T05:34:29.109" v="919" actId="478"/>
          <ac:picMkLst>
            <pc:docMk/>
            <pc:sldMk cId="3070204084" sldId="2147375609"/>
            <ac:picMk id="8" creationId="{847966B5-9783-50DC-3EA7-76F34F25ACCC}"/>
          </ac:picMkLst>
        </pc:picChg>
      </pc:sldChg>
      <pc:sldChg chg="modSp mod">
        <pc:chgData name="Dhruw, Kabir SBOBNG-PTIV/LC" userId="b937d6d8-898d-4cbe-9fd6-c82dbbaafd5f" providerId="ADAL" clId="{67EC033C-D546-4E17-BC4A-EE213DD5A99F}" dt="2024-09-14T05:24:33.199" v="620" actId="20577"/>
        <pc:sldMkLst>
          <pc:docMk/>
          <pc:sldMk cId="3754613224" sldId="2147375611"/>
        </pc:sldMkLst>
        <pc:spChg chg="mod">
          <ac:chgData name="Dhruw, Kabir SBOBNG-PTIV/LC" userId="b937d6d8-898d-4cbe-9fd6-c82dbbaafd5f" providerId="ADAL" clId="{67EC033C-D546-4E17-BC4A-EE213DD5A99F}" dt="2024-09-14T05:24:24.114" v="588" actId="20577"/>
          <ac:spMkLst>
            <pc:docMk/>
            <pc:sldMk cId="3754613224" sldId="2147375611"/>
            <ac:spMk id="18" creationId="{6C73795A-BE20-7075-E9C6-6F145CE60794}"/>
          </ac:spMkLst>
        </pc:spChg>
        <pc:spChg chg="mod">
          <ac:chgData name="Dhruw, Kabir SBOBNG-PTIV/LC" userId="b937d6d8-898d-4cbe-9fd6-c82dbbaafd5f" providerId="ADAL" clId="{67EC033C-D546-4E17-BC4A-EE213DD5A99F}" dt="2024-09-14T05:24:33.199" v="620" actId="20577"/>
          <ac:spMkLst>
            <pc:docMk/>
            <pc:sldMk cId="3754613224" sldId="2147375611"/>
            <ac:spMk id="19" creationId="{A3E2F4D1-4417-E244-3DB9-A6FF5866A342}"/>
          </ac:spMkLst>
        </pc:spChg>
      </pc:sldChg>
      <pc:sldChg chg="addSp delSp modSp mod">
        <pc:chgData name="Dhruw, Kabir SBOBNG-PTIV/LC" userId="b937d6d8-898d-4cbe-9fd6-c82dbbaafd5f" providerId="ADAL" clId="{67EC033C-D546-4E17-BC4A-EE213DD5A99F}" dt="2024-09-14T05:38:39.185" v="972" actId="20577"/>
        <pc:sldMkLst>
          <pc:docMk/>
          <pc:sldMk cId="1148838763" sldId="2147375613"/>
        </pc:sldMkLst>
        <pc:spChg chg="mod">
          <ac:chgData name="Dhruw, Kabir SBOBNG-PTIV/LC" userId="b937d6d8-898d-4cbe-9fd6-c82dbbaafd5f" providerId="ADAL" clId="{67EC033C-D546-4E17-BC4A-EE213DD5A99F}" dt="2024-09-14T05:38:39.185" v="972" actId="20577"/>
          <ac:spMkLst>
            <pc:docMk/>
            <pc:sldMk cId="1148838763" sldId="2147375613"/>
            <ac:spMk id="11" creationId="{8CC1343B-2E39-FEFF-8FF6-46822F18B432}"/>
          </ac:spMkLst>
        </pc:spChg>
        <pc:picChg chg="add mod">
          <ac:chgData name="Dhruw, Kabir SBOBNG-PTIV/LC" userId="b937d6d8-898d-4cbe-9fd6-c82dbbaafd5f" providerId="ADAL" clId="{67EC033C-D546-4E17-BC4A-EE213DD5A99F}" dt="2024-09-14T05:38:19.275" v="936" actId="962"/>
          <ac:picMkLst>
            <pc:docMk/>
            <pc:sldMk cId="1148838763" sldId="2147375613"/>
            <ac:picMk id="6" creationId="{A63B6D08-5F93-98B5-80F1-6140288BD14C}"/>
          </ac:picMkLst>
        </pc:picChg>
        <pc:picChg chg="del">
          <ac:chgData name="Dhruw, Kabir SBOBNG-PTIV/LC" userId="b937d6d8-898d-4cbe-9fd6-c82dbbaafd5f" providerId="ADAL" clId="{67EC033C-D546-4E17-BC4A-EE213DD5A99F}" dt="2024-09-14T05:38:06.339" v="931" actId="478"/>
          <ac:picMkLst>
            <pc:docMk/>
            <pc:sldMk cId="1148838763" sldId="2147375613"/>
            <ac:picMk id="8" creationId="{8D66E228-C2CB-D0A5-ACA3-06AC6CC9CF55}"/>
          </ac:picMkLst>
        </pc:picChg>
      </pc:sldChg>
      <pc:sldChg chg="modSp mod">
        <pc:chgData name="Dhruw, Kabir SBOBNG-PTIV/LC" userId="b937d6d8-898d-4cbe-9fd6-c82dbbaafd5f" providerId="ADAL" clId="{67EC033C-D546-4E17-BC4A-EE213DD5A99F}" dt="2024-09-14T05:37:33.105" v="930" actId="20577"/>
        <pc:sldMkLst>
          <pc:docMk/>
          <pc:sldMk cId="3865850111" sldId="2147375614"/>
        </pc:sldMkLst>
        <pc:spChg chg="mod">
          <ac:chgData name="Dhruw, Kabir SBOBNG-PTIV/LC" userId="b937d6d8-898d-4cbe-9fd6-c82dbbaafd5f" providerId="ADAL" clId="{67EC033C-D546-4E17-BC4A-EE213DD5A99F}" dt="2024-09-14T05:37:33.105" v="930" actId="20577"/>
          <ac:spMkLst>
            <pc:docMk/>
            <pc:sldMk cId="3865850111" sldId="2147375614"/>
            <ac:spMk id="6" creationId="{AC2F88D2-81D4-FAD4-568E-A3F495B06411}"/>
          </ac:spMkLst>
        </pc:spChg>
      </pc:sld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Dhruw, Kabir SBOBNG-PTIV/LC" userId="b937d6d8-898d-4cbe-9fd6-c82dbbaafd5f" providerId="ADAL" clId="{7CD428B9-A6FB-4AE1-9E17-165E06B1D93B}"/>
    <pc:docChg chg="modSld">
      <pc:chgData name="Dhruw, Kabir SBOBNG-PTIV/LC" userId="b937d6d8-898d-4cbe-9fd6-c82dbbaafd5f" providerId="ADAL" clId="{7CD428B9-A6FB-4AE1-9E17-165E06B1D93B}" dt="2024-09-04T03:30:59.021" v="66" actId="27614"/>
      <pc:docMkLst>
        <pc:docMk/>
      </pc:docMkLst>
      <pc:sldChg chg="addSp modSp mod">
        <pc:chgData name="Dhruw, Kabir SBOBNG-PTIV/LC" userId="b937d6d8-898d-4cbe-9fd6-c82dbbaafd5f" providerId="ADAL" clId="{7CD428B9-A6FB-4AE1-9E17-165E06B1D93B}" dt="2024-09-04T03:25:12.993" v="39" actId="27614"/>
        <pc:sldMkLst>
          <pc:docMk/>
          <pc:sldMk cId="867832184" sldId="2147375589"/>
        </pc:sldMkLst>
        <pc:spChg chg="mod">
          <ac:chgData name="Dhruw, Kabir SBOBNG-PTIV/LC" userId="b937d6d8-898d-4cbe-9fd6-c82dbbaafd5f" providerId="ADAL" clId="{7CD428B9-A6FB-4AE1-9E17-165E06B1D93B}" dt="2024-09-04T03:24:57.705" v="36" actId="20577"/>
          <ac:spMkLst>
            <pc:docMk/>
            <pc:sldMk cId="867832184" sldId="2147375589"/>
            <ac:spMk id="11" creationId="{CE0DDF5F-FE47-F9A2-FE84-53B63DFF494D}"/>
          </ac:spMkLst>
        </pc:spChg>
        <pc:picChg chg="add mod">
          <ac:chgData name="Dhruw, Kabir SBOBNG-PTIV/LC" userId="b937d6d8-898d-4cbe-9fd6-c82dbbaafd5f" providerId="ADAL" clId="{7CD428B9-A6FB-4AE1-9E17-165E06B1D93B}" dt="2024-09-04T03:25:12.993" v="39" actId="27614"/>
          <ac:picMkLst>
            <pc:docMk/>
            <pc:sldMk cId="867832184" sldId="2147375589"/>
            <ac:picMk id="6" creationId="{4A3D4E05-3D4B-8744-B7E9-1D94B9A47855}"/>
          </ac:picMkLst>
        </pc:picChg>
      </pc:sldChg>
      <pc:sldChg chg="addSp modSp mod">
        <pc:chgData name="Dhruw, Kabir SBOBNG-PTIV/LC" userId="b937d6d8-898d-4cbe-9fd6-c82dbbaafd5f" providerId="ADAL" clId="{7CD428B9-A6FB-4AE1-9E17-165E06B1D93B}" dt="2024-08-31T06:13:54.287" v="7" actId="14100"/>
        <pc:sldMkLst>
          <pc:docMk/>
          <pc:sldMk cId="245881457" sldId="2147375597"/>
        </pc:sldMkLst>
        <pc:spChg chg="mod">
          <ac:chgData name="Dhruw, Kabir SBOBNG-PTIV/LC" userId="b937d6d8-898d-4cbe-9fd6-c82dbbaafd5f" providerId="ADAL" clId="{7CD428B9-A6FB-4AE1-9E17-165E06B1D93B}" dt="2024-08-31T06:13:33.366" v="1" actId="20577"/>
          <ac:spMkLst>
            <pc:docMk/>
            <pc:sldMk cId="245881457" sldId="2147375597"/>
            <ac:spMk id="12" creationId="{E53E5C3F-4D2B-B85F-E592-E58E032C664C}"/>
          </ac:spMkLst>
        </pc:spChg>
        <pc:picChg chg="add mod">
          <ac:chgData name="Dhruw, Kabir SBOBNG-PTIV/LC" userId="b937d6d8-898d-4cbe-9fd6-c82dbbaafd5f" providerId="ADAL" clId="{7CD428B9-A6FB-4AE1-9E17-165E06B1D93B}" dt="2024-08-31T06:13:54.287" v="7" actId="14100"/>
          <ac:picMkLst>
            <pc:docMk/>
            <pc:sldMk cId="245881457" sldId="2147375597"/>
            <ac:picMk id="5" creationId="{6858F8FC-974D-5DF8-44AE-06F9793C8BDE}"/>
          </ac:picMkLst>
        </pc:picChg>
      </pc:sldChg>
      <pc:sldChg chg="addSp modSp mod">
        <pc:chgData name="Dhruw, Kabir SBOBNG-PTIV/LC" userId="b937d6d8-898d-4cbe-9fd6-c82dbbaafd5f" providerId="ADAL" clId="{7CD428B9-A6FB-4AE1-9E17-165E06B1D93B}" dt="2024-08-31T06:14:29.933" v="14" actId="962"/>
        <pc:sldMkLst>
          <pc:docMk/>
          <pc:sldMk cId="1181112711" sldId="2147375600"/>
        </pc:sldMkLst>
        <pc:spChg chg="mod">
          <ac:chgData name="Dhruw, Kabir SBOBNG-PTIV/LC" userId="b937d6d8-898d-4cbe-9fd6-c82dbbaafd5f" providerId="ADAL" clId="{7CD428B9-A6FB-4AE1-9E17-165E06B1D93B}" dt="2024-08-31T06:13:59.993" v="9" actId="20577"/>
          <ac:spMkLst>
            <pc:docMk/>
            <pc:sldMk cId="1181112711" sldId="2147375600"/>
            <ac:spMk id="12" creationId="{E53E5C3F-4D2B-B85F-E592-E58E032C664C}"/>
          </ac:spMkLst>
        </pc:spChg>
        <pc:picChg chg="add mod">
          <ac:chgData name="Dhruw, Kabir SBOBNG-PTIV/LC" userId="b937d6d8-898d-4cbe-9fd6-c82dbbaafd5f" providerId="ADAL" clId="{7CD428B9-A6FB-4AE1-9E17-165E06B1D93B}" dt="2024-08-31T06:14:29.933" v="14" actId="962"/>
          <ac:picMkLst>
            <pc:docMk/>
            <pc:sldMk cId="1181112711" sldId="2147375600"/>
            <ac:picMk id="5" creationId="{BE907506-5494-B495-E60C-0D93B4CAB467}"/>
          </ac:picMkLst>
        </pc:picChg>
      </pc:sldChg>
      <pc:sldChg chg="addSp modSp mod">
        <pc:chgData name="Dhruw, Kabir SBOBNG-PTIV/LC" userId="b937d6d8-898d-4cbe-9fd6-c82dbbaafd5f" providerId="ADAL" clId="{7CD428B9-A6FB-4AE1-9E17-165E06B1D93B}" dt="2024-08-31T06:15:07.289" v="22" actId="14100"/>
        <pc:sldMkLst>
          <pc:docMk/>
          <pc:sldMk cId="3233747587" sldId="2147375601"/>
        </pc:sldMkLst>
        <pc:spChg chg="mod">
          <ac:chgData name="Dhruw, Kabir SBOBNG-PTIV/LC" userId="b937d6d8-898d-4cbe-9fd6-c82dbbaafd5f" providerId="ADAL" clId="{7CD428B9-A6FB-4AE1-9E17-165E06B1D93B}" dt="2024-08-31T06:14:52.317" v="16" actId="20577"/>
          <ac:spMkLst>
            <pc:docMk/>
            <pc:sldMk cId="3233747587" sldId="2147375601"/>
            <ac:spMk id="12" creationId="{E53E5C3F-4D2B-B85F-E592-E58E032C664C}"/>
          </ac:spMkLst>
        </pc:spChg>
        <pc:picChg chg="add mod">
          <ac:chgData name="Dhruw, Kabir SBOBNG-PTIV/LC" userId="b937d6d8-898d-4cbe-9fd6-c82dbbaafd5f" providerId="ADAL" clId="{7CD428B9-A6FB-4AE1-9E17-165E06B1D93B}" dt="2024-08-31T06:15:07.289" v="22" actId="14100"/>
          <ac:picMkLst>
            <pc:docMk/>
            <pc:sldMk cId="3233747587" sldId="2147375601"/>
            <ac:picMk id="5" creationId="{F3493A1B-AE08-0EDA-1ABE-21F31FEB06E8}"/>
          </ac:picMkLst>
        </pc:picChg>
      </pc:sldChg>
      <pc:sldChg chg="addSp modSp mod">
        <pc:chgData name="Dhruw, Kabir SBOBNG-PTIV/LC" userId="b937d6d8-898d-4cbe-9fd6-c82dbbaafd5f" providerId="ADAL" clId="{7CD428B9-A6FB-4AE1-9E17-165E06B1D93B}" dt="2024-08-31T06:17:04.121" v="35" actId="962"/>
        <pc:sldMkLst>
          <pc:docMk/>
          <pc:sldMk cId="3971512377" sldId="2147375603"/>
        </pc:sldMkLst>
        <pc:spChg chg="mod">
          <ac:chgData name="Dhruw, Kabir SBOBNG-PTIV/LC" userId="b937d6d8-898d-4cbe-9fd6-c82dbbaafd5f" providerId="ADAL" clId="{7CD428B9-A6FB-4AE1-9E17-165E06B1D93B}" dt="2024-08-31T06:16:30.577" v="30" actId="20577"/>
          <ac:spMkLst>
            <pc:docMk/>
            <pc:sldMk cId="3971512377" sldId="2147375603"/>
            <ac:spMk id="12" creationId="{E53E5C3F-4D2B-B85F-E592-E58E032C664C}"/>
          </ac:spMkLst>
        </pc:spChg>
        <pc:picChg chg="add mod">
          <ac:chgData name="Dhruw, Kabir SBOBNG-PTIV/LC" userId="b937d6d8-898d-4cbe-9fd6-c82dbbaafd5f" providerId="ADAL" clId="{7CD428B9-A6FB-4AE1-9E17-165E06B1D93B}" dt="2024-08-31T06:17:04.121" v="35" actId="962"/>
          <ac:picMkLst>
            <pc:docMk/>
            <pc:sldMk cId="3971512377" sldId="2147375603"/>
            <ac:picMk id="6" creationId="{1CE31728-1DAF-DAD1-0C8D-B93E9FB13EA8}"/>
          </ac:picMkLst>
        </pc:picChg>
      </pc:sldChg>
      <pc:sldChg chg="addSp modSp mod">
        <pc:chgData name="Dhruw, Kabir SBOBNG-PTIV/LC" userId="b937d6d8-898d-4cbe-9fd6-c82dbbaafd5f" providerId="ADAL" clId="{7CD428B9-A6FB-4AE1-9E17-165E06B1D93B}" dt="2024-09-04T03:26:26.232" v="47" actId="1076"/>
        <pc:sldMkLst>
          <pc:docMk/>
          <pc:sldMk cId="3179805674" sldId="2147375604"/>
        </pc:sldMkLst>
        <pc:spChg chg="mod">
          <ac:chgData name="Dhruw, Kabir SBOBNG-PTIV/LC" userId="b937d6d8-898d-4cbe-9fd6-c82dbbaafd5f" providerId="ADAL" clId="{7CD428B9-A6FB-4AE1-9E17-165E06B1D93B}" dt="2024-09-04T03:26:08.748" v="40" actId="20577"/>
          <ac:spMkLst>
            <pc:docMk/>
            <pc:sldMk cId="3179805674" sldId="2147375604"/>
            <ac:spMk id="12" creationId="{E53E5C3F-4D2B-B85F-E592-E58E032C664C}"/>
          </ac:spMkLst>
        </pc:spChg>
        <pc:picChg chg="add mod">
          <ac:chgData name="Dhruw, Kabir SBOBNG-PTIV/LC" userId="b937d6d8-898d-4cbe-9fd6-c82dbbaafd5f" providerId="ADAL" clId="{7CD428B9-A6FB-4AE1-9E17-165E06B1D93B}" dt="2024-09-04T03:26:26.232" v="47" actId="1076"/>
          <ac:picMkLst>
            <pc:docMk/>
            <pc:sldMk cId="3179805674" sldId="2147375604"/>
            <ac:picMk id="6" creationId="{29E78300-98C3-E163-6145-FB5C9F74B18B}"/>
          </ac:picMkLst>
        </pc:picChg>
      </pc:sldChg>
      <pc:sldChg chg="addSp modSp mod">
        <pc:chgData name="Dhruw, Kabir SBOBNG-PTIV/LC" userId="b937d6d8-898d-4cbe-9fd6-c82dbbaafd5f" providerId="ADAL" clId="{7CD428B9-A6FB-4AE1-9E17-165E06B1D93B}" dt="2024-09-04T03:27:08.456" v="51" actId="27614"/>
        <pc:sldMkLst>
          <pc:docMk/>
          <pc:sldMk cId="86366928" sldId="2147375605"/>
        </pc:sldMkLst>
        <pc:spChg chg="mod">
          <ac:chgData name="Dhruw, Kabir SBOBNG-PTIV/LC" userId="b937d6d8-898d-4cbe-9fd6-c82dbbaafd5f" providerId="ADAL" clId="{7CD428B9-A6FB-4AE1-9E17-165E06B1D93B}" dt="2024-09-04T03:26:32.103" v="48" actId="20577"/>
          <ac:spMkLst>
            <pc:docMk/>
            <pc:sldMk cId="86366928" sldId="2147375605"/>
            <ac:spMk id="12" creationId="{E53E5C3F-4D2B-B85F-E592-E58E032C664C}"/>
          </ac:spMkLst>
        </pc:spChg>
        <pc:picChg chg="add mod">
          <ac:chgData name="Dhruw, Kabir SBOBNG-PTIV/LC" userId="b937d6d8-898d-4cbe-9fd6-c82dbbaafd5f" providerId="ADAL" clId="{7CD428B9-A6FB-4AE1-9E17-165E06B1D93B}" dt="2024-09-04T03:27:08.456" v="51" actId="27614"/>
          <ac:picMkLst>
            <pc:docMk/>
            <pc:sldMk cId="86366928" sldId="2147375605"/>
            <ac:picMk id="6" creationId="{D312A917-7B74-8A70-0956-E55184C9B353}"/>
          </ac:picMkLst>
        </pc:picChg>
      </pc:sldChg>
      <pc:sldChg chg="addSp modSp mod">
        <pc:chgData name="Dhruw, Kabir SBOBNG-PTIV/LC" userId="b937d6d8-898d-4cbe-9fd6-c82dbbaafd5f" providerId="ADAL" clId="{7CD428B9-A6FB-4AE1-9E17-165E06B1D93B}" dt="2024-09-04T03:28:00.794" v="57" actId="962"/>
        <pc:sldMkLst>
          <pc:docMk/>
          <pc:sldMk cId="2340944189" sldId="2147375607"/>
        </pc:sldMkLst>
        <pc:spChg chg="mod">
          <ac:chgData name="Dhruw, Kabir SBOBNG-PTIV/LC" userId="b937d6d8-898d-4cbe-9fd6-c82dbbaafd5f" providerId="ADAL" clId="{7CD428B9-A6FB-4AE1-9E17-165E06B1D93B}" dt="2024-09-04T03:27:12.563" v="52" actId="20577"/>
          <ac:spMkLst>
            <pc:docMk/>
            <pc:sldMk cId="2340944189" sldId="2147375607"/>
            <ac:spMk id="12" creationId="{E53E5C3F-4D2B-B85F-E592-E58E032C664C}"/>
          </ac:spMkLst>
        </pc:spChg>
        <pc:picChg chg="add mod">
          <ac:chgData name="Dhruw, Kabir SBOBNG-PTIV/LC" userId="b937d6d8-898d-4cbe-9fd6-c82dbbaafd5f" providerId="ADAL" clId="{7CD428B9-A6FB-4AE1-9E17-165E06B1D93B}" dt="2024-09-04T03:28:00.794" v="57" actId="962"/>
          <ac:picMkLst>
            <pc:docMk/>
            <pc:sldMk cId="2340944189" sldId="2147375607"/>
            <ac:picMk id="6" creationId="{9D6EC348-F4AC-D87E-FE28-FAD3879E3758}"/>
          </ac:picMkLst>
        </pc:picChg>
      </pc:sldChg>
      <pc:sldChg chg="addSp modSp mod">
        <pc:chgData name="Dhruw, Kabir SBOBNG-PTIV/LC" userId="b937d6d8-898d-4cbe-9fd6-c82dbbaafd5f" providerId="ADAL" clId="{7CD428B9-A6FB-4AE1-9E17-165E06B1D93B}" dt="2024-09-04T03:29:59.237" v="62" actId="27614"/>
        <pc:sldMkLst>
          <pc:docMk/>
          <pc:sldMk cId="3159148252" sldId="2147375608"/>
        </pc:sldMkLst>
        <pc:spChg chg="mod">
          <ac:chgData name="Dhruw, Kabir SBOBNG-PTIV/LC" userId="b937d6d8-898d-4cbe-9fd6-c82dbbaafd5f" providerId="ADAL" clId="{7CD428B9-A6FB-4AE1-9E17-165E06B1D93B}" dt="2024-09-04T03:28:06.218" v="59" actId="20577"/>
          <ac:spMkLst>
            <pc:docMk/>
            <pc:sldMk cId="3159148252" sldId="2147375608"/>
            <ac:spMk id="12" creationId="{E53E5C3F-4D2B-B85F-E592-E58E032C664C}"/>
          </ac:spMkLst>
        </pc:spChg>
        <pc:picChg chg="add mod">
          <ac:chgData name="Dhruw, Kabir SBOBNG-PTIV/LC" userId="b937d6d8-898d-4cbe-9fd6-c82dbbaafd5f" providerId="ADAL" clId="{7CD428B9-A6FB-4AE1-9E17-165E06B1D93B}" dt="2024-09-04T03:29:59.237" v="62" actId="27614"/>
          <ac:picMkLst>
            <pc:docMk/>
            <pc:sldMk cId="3159148252" sldId="2147375608"/>
            <ac:picMk id="6" creationId="{DAD5B57C-A853-7630-2294-A0A39F8F53F0}"/>
          </ac:picMkLst>
        </pc:picChg>
      </pc:sldChg>
      <pc:sldChg chg="addSp modSp mod">
        <pc:chgData name="Dhruw, Kabir SBOBNG-PTIV/LC" userId="b937d6d8-898d-4cbe-9fd6-c82dbbaafd5f" providerId="ADAL" clId="{7CD428B9-A6FB-4AE1-9E17-165E06B1D93B}" dt="2024-09-04T03:30:59.021" v="66" actId="27614"/>
        <pc:sldMkLst>
          <pc:docMk/>
          <pc:sldMk cId="3070204084" sldId="2147375609"/>
        </pc:sldMkLst>
        <pc:spChg chg="mod">
          <ac:chgData name="Dhruw, Kabir SBOBNG-PTIV/LC" userId="b937d6d8-898d-4cbe-9fd6-c82dbbaafd5f" providerId="ADAL" clId="{7CD428B9-A6FB-4AE1-9E17-165E06B1D93B}" dt="2024-09-04T03:30:01.807" v="63" actId="20577"/>
          <ac:spMkLst>
            <pc:docMk/>
            <pc:sldMk cId="3070204084" sldId="2147375609"/>
            <ac:spMk id="12" creationId="{E53E5C3F-4D2B-B85F-E592-E58E032C664C}"/>
          </ac:spMkLst>
        </pc:spChg>
        <pc:picChg chg="add mod">
          <ac:chgData name="Dhruw, Kabir SBOBNG-PTIV/LC" userId="b937d6d8-898d-4cbe-9fd6-c82dbbaafd5f" providerId="ADAL" clId="{7CD428B9-A6FB-4AE1-9E17-165E06B1D93B}" dt="2024-09-04T03:30:59.021" v="66" actId="27614"/>
          <ac:picMkLst>
            <pc:docMk/>
            <pc:sldMk cId="3070204084" sldId="2147375609"/>
            <ac:picMk id="6" creationId="{F3B66E1F-6365-1F7D-BE6B-C77A3676057E}"/>
          </ac:picMkLst>
        </pc:picChg>
      </pc:sldChg>
      <pc:sldChg chg="addSp modSp mod">
        <pc:chgData name="Dhruw, Kabir SBOBNG-PTIV/LC" userId="b937d6d8-898d-4cbe-9fd6-c82dbbaafd5f" providerId="ADAL" clId="{7CD428B9-A6FB-4AE1-9E17-165E06B1D93B}" dt="2024-08-31T06:15:51.787" v="29" actId="962"/>
        <pc:sldMkLst>
          <pc:docMk/>
          <pc:sldMk cId="1148838763" sldId="2147375613"/>
        </pc:sldMkLst>
        <pc:spChg chg="mod">
          <ac:chgData name="Dhruw, Kabir SBOBNG-PTIV/LC" userId="b937d6d8-898d-4cbe-9fd6-c82dbbaafd5f" providerId="ADAL" clId="{7CD428B9-A6FB-4AE1-9E17-165E06B1D93B}" dt="2024-08-31T06:15:23.591" v="24" actId="20577"/>
          <ac:spMkLst>
            <pc:docMk/>
            <pc:sldMk cId="1148838763" sldId="2147375613"/>
            <ac:spMk id="12" creationId="{5A873A1A-E63F-91AE-7D43-ED0F86870147}"/>
          </ac:spMkLst>
        </pc:spChg>
        <pc:picChg chg="add mod">
          <ac:chgData name="Dhruw, Kabir SBOBNG-PTIV/LC" userId="b937d6d8-898d-4cbe-9fd6-c82dbbaafd5f" providerId="ADAL" clId="{7CD428B9-A6FB-4AE1-9E17-165E06B1D93B}" dt="2024-08-31T06:15:51.787" v="29" actId="962"/>
          <ac:picMkLst>
            <pc:docMk/>
            <pc:sldMk cId="1148838763" sldId="2147375613"/>
            <ac:picMk id="6" creationId="{B843856E-5A86-5ED8-ECC4-8DBEDF5F271B}"/>
          </ac:picMkLst>
        </pc:picChg>
      </pc:sldChg>
    </pc:docChg>
  </pc:docChgLst>
  <pc:docChgLst>
    <pc:chgData name="Dhruw, Kabir SBOBNG-PTIV/LC" userId="b937d6d8-898d-4cbe-9fd6-c82dbbaafd5f" providerId="ADAL" clId="{56150486-AB01-472F-808C-CB0EC5E64382}"/>
    <pc:docChg chg="undo custSel modSld">
      <pc:chgData name="Dhruw, Kabir SBOBNG-PTIV/LC" userId="b937d6d8-898d-4cbe-9fd6-c82dbbaafd5f" providerId="ADAL" clId="{56150486-AB01-472F-808C-CB0EC5E64382}" dt="2024-09-06T12:45:04.462" v="1039" actId="20577"/>
      <pc:docMkLst>
        <pc:docMk/>
      </pc:docMkLst>
      <pc:sldChg chg="modSp mod">
        <pc:chgData name="Dhruw, Kabir SBOBNG-PTIV/LC" userId="b937d6d8-898d-4cbe-9fd6-c82dbbaafd5f" providerId="ADAL" clId="{56150486-AB01-472F-808C-CB0EC5E64382}" dt="2024-09-04T03:47:32.767" v="10" actId="20577"/>
        <pc:sldMkLst>
          <pc:docMk/>
          <pc:sldMk cId="3267775274" sldId="256"/>
        </pc:sldMkLst>
        <pc:spChg chg="mod">
          <ac:chgData name="Dhruw, Kabir SBOBNG-PTIV/LC" userId="b937d6d8-898d-4cbe-9fd6-c82dbbaafd5f" providerId="ADAL" clId="{56150486-AB01-472F-808C-CB0EC5E64382}" dt="2024-09-04T03:47:32.767" v="10" actId="20577"/>
          <ac:spMkLst>
            <pc:docMk/>
            <pc:sldMk cId="3267775274" sldId="256"/>
            <ac:spMk id="13" creationId="{C48F8DD6-A1B3-8126-FAC3-218B712C7FFB}"/>
          </ac:spMkLst>
        </pc:spChg>
      </pc:sldChg>
      <pc:sldChg chg="addSp delSp modSp mod">
        <pc:chgData name="Dhruw, Kabir SBOBNG-PTIV/LC" userId="b937d6d8-898d-4cbe-9fd6-c82dbbaafd5f" providerId="ADAL" clId="{56150486-AB01-472F-808C-CB0EC5E64382}" dt="2024-09-06T12:43:35.006" v="1025" actId="962"/>
        <pc:sldMkLst>
          <pc:docMk/>
          <pc:sldMk cId="245881457" sldId="2147375597"/>
        </pc:sldMkLst>
        <pc:spChg chg="mod">
          <ac:chgData name="Dhruw, Kabir SBOBNG-PTIV/LC" userId="b937d6d8-898d-4cbe-9fd6-c82dbbaafd5f" providerId="ADAL" clId="{56150486-AB01-472F-808C-CB0EC5E64382}" dt="2024-09-04T03:47:43.751" v="12" actId="20577"/>
          <ac:spMkLst>
            <pc:docMk/>
            <pc:sldMk cId="245881457" sldId="2147375597"/>
            <ac:spMk id="3" creationId="{CEA128C4-A0BC-A895-713C-306E7FF62894}"/>
          </ac:spMkLst>
        </pc:spChg>
        <pc:spChg chg="mod">
          <ac:chgData name="Dhruw, Kabir SBOBNG-PTIV/LC" userId="b937d6d8-898d-4cbe-9fd6-c82dbbaafd5f" providerId="ADAL" clId="{56150486-AB01-472F-808C-CB0EC5E64382}" dt="2024-09-06T12:22:13.757" v="35"/>
          <ac:spMkLst>
            <pc:docMk/>
            <pc:sldMk cId="245881457" sldId="2147375597"/>
            <ac:spMk id="11" creationId="{DE9F1BE0-7910-FA1B-DCE8-56EFD1E4FC09}"/>
          </ac:spMkLst>
        </pc:spChg>
        <pc:picChg chg="add mod">
          <ac:chgData name="Dhruw, Kabir SBOBNG-PTIV/LC" userId="b937d6d8-898d-4cbe-9fd6-c82dbbaafd5f" providerId="ADAL" clId="{56150486-AB01-472F-808C-CB0EC5E64382}" dt="2024-09-06T12:43:35.006" v="1025" actId="962"/>
          <ac:picMkLst>
            <pc:docMk/>
            <pc:sldMk cId="245881457" sldId="2147375597"/>
            <ac:picMk id="5" creationId="{162204CB-E4F8-52CC-1A9A-4CDE87E130AB}"/>
          </ac:picMkLst>
        </pc:picChg>
        <pc:picChg chg="del">
          <ac:chgData name="Dhruw, Kabir SBOBNG-PTIV/LC" userId="b937d6d8-898d-4cbe-9fd6-c82dbbaafd5f" providerId="ADAL" clId="{56150486-AB01-472F-808C-CB0EC5E64382}" dt="2024-09-04T03:47:38.961" v="11" actId="478"/>
          <ac:picMkLst>
            <pc:docMk/>
            <pc:sldMk cId="245881457" sldId="2147375597"/>
            <ac:picMk id="5" creationId="{6858F8FC-974D-5DF8-44AE-06F9793C8BDE}"/>
          </ac:picMkLst>
        </pc:picChg>
      </pc:sldChg>
      <pc:sldChg chg="addSp delSp modSp mod">
        <pc:chgData name="Dhruw, Kabir SBOBNG-PTIV/LC" userId="b937d6d8-898d-4cbe-9fd6-c82dbbaafd5f" providerId="ADAL" clId="{56150486-AB01-472F-808C-CB0EC5E64382}" dt="2024-09-06T12:44:40.364" v="1038" actId="20577"/>
        <pc:sldMkLst>
          <pc:docMk/>
          <pc:sldMk cId="1181112711" sldId="2147375600"/>
        </pc:sldMkLst>
        <pc:spChg chg="mod">
          <ac:chgData name="Dhruw, Kabir SBOBNG-PTIV/LC" userId="b937d6d8-898d-4cbe-9fd6-c82dbbaafd5f" providerId="ADAL" clId="{56150486-AB01-472F-808C-CB0EC5E64382}" dt="2024-09-06T12:44:40.364" v="1038" actId="20577"/>
          <ac:spMkLst>
            <pc:docMk/>
            <pc:sldMk cId="1181112711" sldId="2147375600"/>
            <ac:spMk id="3" creationId="{CEA128C4-A0BC-A895-713C-306E7FF62894}"/>
          </ac:spMkLst>
        </pc:spChg>
        <pc:spChg chg="mod">
          <ac:chgData name="Dhruw, Kabir SBOBNG-PTIV/LC" userId="b937d6d8-898d-4cbe-9fd6-c82dbbaafd5f" providerId="ADAL" clId="{56150486-AB01-472F-808C-CB0EC5E64382}" dt="2024-09-06T12:23:09.895" v="40"/>
          <ac:spMkLst>
            <pc:docMk/>
            <pc:sldMk cId="1181112711" sldId="2147375600"/>
            <ac:spMk id="11" creationId="{DE9F1BE0-7910-FA1B-DCE8-56EFD1E4FC09}"/>
          </ac:spMkLst>
        </pc:spChg>
        <pc:picChg chg="del">
          <ac:chgData name="Dhruw, Kabir SBOBNG-PTIV/LC" userId="b937d6d8-898d-4cbe-9fd6-c82dbbaafd5f" providerId="ADAL" clId="{56150486-AB01-472F-808C-CB0EC5E64382}" dt="2024-09-06T12:43:37.362" v="1026" actId="478"/>
          <ac:picMkLst>
            <pc:docMk/>
            <pc:sldMk cId="1181112711" sldId="2147375600"/>
            <ac:picMk id="5" creationId="{BE907506-5494-B495-E60C-0D93B4CAB467}"/>
          </ac:picMkLst>
        </pc:picChg>
        <pc:picChg chg="add mod">
          <ac:chgData name="Dhruw, Kabir SBOBNG-PTIV/LC" userId="b937d6d8-898d-4cbe-9fd6-c82dbbaafd5f" providerId="ADAL" clId="{56150486-AB01-472F-808C-CB0EC5E64382}" dt="2024-09-06T12:44:05.018" v="1030" actId="27614"/>
          <ac:picMkLst>
            <pc:docMk/>
            <pc:sldMk cId="1181112711" sldId="2147375600"/>
            <ac:picMk id="6" creationId="{BBDCB883-410E-1C62-8185-C4BD8BAC1567}"/>
          </ac:picMkLst>
        </pc:picChg>
      </pc:sldChg>
      <pc:sldChg chg="addSp delSp modSp mod">
        <pc:chgData name="Dhruw, Kabir SBOBNG-PTIV/LC" userId="b937d6d8-898d-4cbe-9fd6-c82dbbaafd5f" providerId="ADAL" clId="{56150486-AB01-472F-808C-CB0EC5E64382}" dt="2024-09-06T12:44:36.097" v="1037" actId="20577"/>
        <pc:sldMkLst>
          <pc:docMk/>
          <pc:sldMk cId="3233747587" sldId="2147375601"/>
        </pc:sldMkLst>
        <pc:spChg chg="mod">
          <ac:chgData name="Dhruw, Kabir SBOBNG-PTIV/LC" userId="b937d6d8-898d-4cbe-9fd6-c82dbbaafd5f" providerId="ADAL" clId="{56150486-AB01-472F-808C-CB0EC5E64382}" dt="2024-09-06T12:44:36.097" v="1037" actId="20577"/>
          <ac:spMkLst>
            <pc:docMk/>
            <pc:sldMk cId="3233747587" sldId="2147375601"/>
            <ac:spMk id="3" creationId="{CEA128C4-A0BC-A895-713C-306E7FF62894}"/>
          </ac:spMkLst>
        </pc:spChg>
        <pc:spChg chg="mod">
          <ac:chgData name="Dhruw, Kabir SBOBNG-PTIV/LC" userId="b937d6d8-898d-4cbe-9fd6-c82dbbaafd5f" providerId="ADAL" clId="{56150486-AB01-472F-808C-CB0EC5E64382}" dt="2024-09-06T12:24:44.159" v="50" actId="403"/>
          <ac:spMkLst>
            <pc:docMk/>
            <pc:sldMk cId="3233747587" sldId="2147375601"/>
            <ac:spMk id="11" creationId="{DE9F1BE0-7910-FA1B-DCE8-56EFD1E4FC09}"/>
          </ac:spMkLst>
        </pc:spChg>
        <pc:picChg chg="del">
          <ac:chgData name="Dhruw, Kabir SBOBNG-PTIV/LC" userId="b937d6d8-898d-4cbe-9fd6-c82dbbaafd5f" providerId="ADAL" clId="{56150486-AB01-472F-808C-CB0EC5E64382}" dt="2024-09-06T12:44:19.999" v="1031" actId="478"/>
          <ac:picMkLst>
            <pc:docMk/>
            <pc:sldMk cId="3233747587" sldId="2147375601"/>
            <ac:picMk id="5" creationId="{F3493A1B-AE08-0EDA-1ABE-21F31FEB06E8}"/>
          </ac:picMkLst>
        </pc:picChg>
        <pc:picChg chg="add mod">
          <ac:chgData name="Dhruw, Kabir SBOBNG-PTIV/LC" userId="b937d6d8-898d-4cbe-9fd6-c82dbbaafd5f" providerId="ADAL" clId="{56150486-AB01-472F-808C-CB0EC5E64382}" dt="2024-09-06T12:44:33.997" v="1035" actId="27614"/>
          <ac:picMkLst>
            <pc:docMk/>
            <pc:sldMk cId="3233747587" sldId="2147375601"/>
            <ac:picMk id="6" creationId="{D6F6AD89-CF3B-68D2-FCBD-86484A89336D}"/>
          </ac:picMkLst>
        </pc:picChg>
      </pc:sldChg>
      <pc:sldChg chg="addSp delSp modSp mod">
        <pc:chgData name="Dhruw, Kabir SBOBNG-PTIV/LC" userId="b937d6d8-898d-4cbe-9fd6-c82dbbaafd5f" providerId="ADAL" clId="{56150486-AB01-472F-808C-CB0EC5E64382}" dt="2024-09-06T12:42:59.497" v="1020" actId="962"/>
        <pc:sldMkLst>
          <pc:docMk/>
          <pc:sldMk cId="3971512377" sldId="2147375603"/>
        </pc:sldMkLst>
        <pc:spChg chg="mod">
          <ac:chgData name="Dhruw, Kabir SBOBNG-PTIV/LC" userId="b937d6d8-898d-4cbe-9fd6-c82dbbaafd5f" providerId="ADAL" clId="{56150486-AB01-472F-808C-CB0EC5E64382}" dt="2024-09-06T12:25:42.885" v="55" actId="404"/>
          <ac:spMkLst>
            <pc:docMk/>
            <pc:sldMk cId="3971512377" sldId="2147375603"/>
            <ac:spMk id="11" creationId="{DE9F1BE0-7910-FA1B-DCE8-56EFD1E4FC09}"/>
          </ac:spMkLst>
        </pc:spChg>
        <pc:picChg chg="del">
          <ac:chgData name="Dhruw, Kabir SBOBNG-PTIV/LC" userId="b937d6d8-898d-4cbe-9fd6-c82dbbaafd5f" providerId="ADAL" clId="{56150486-AB01-472F-808C-CB0EC5E64382}" dt="2024-09-06T12:41:50.488" v="1010" actId="478"/>
          <ac:picMkLst>
            <pc:docMk/>
            <pc:sldMk cId="3971512377" sldId="2147375603"/>
            <ac:picMk id="6" creationId="{1CE31728-1DAF-DAD1-0C8D-B93E9FB13EA8}"/>
          </ac:picMkLst>
        </pc:picChg>
        <pc:picChg chg="add mod">
          <ac:chgData name="Dhruw, Kabir SBOBNG-PTIV/LC" userId="b937d6d8-898d-4cbe-9fd6-c82dbbaafd5f" providerId="ADAL" clId="{56150486-AB01-472F-808C-CB0EC5E64382}" dt="2024-09-06T12:42:59.497" v="1020" actId="962"/>
          <ac:picMkLst>
            <pc:docMk/>
            <pc:sldMk cId="3971512377" sldId="2147375603"/>
            <ac:picMk id="8" creationId="{D9CF7C67-8A12-AFF3-BD7C-A58B2FEA357B}"/>
          </ac:picMkLst>
        </pc:picChg>
      </pc:sldChg>
      <pc:sldChg chg="addSp delSp modSp mod">
        <pc:chgData name="Dhruw, Kabir SBOBNG-PTIV/LC" userId="b937d6d8-898d-4cbe-9fd6-c82dbbaafd5f" providerId="ADAL" clId="{56150486-AB01-472F-808C-CB0EC5E64382}" dt="2024-09-06T12:41:47.843" v="1009" actId="962"/>
        <pc:sldMkLst>
          <pc:docMk/>
          <pc:sldMk cId="3179805674" sldId="2147375604"/>
        </pc:sldMkLst>
        <pc:spChg chg="mod">
          <ac:chgData name="Dhruw, Kabir SBOBNG-PTIV/LC" userId="b937d6d8-898d-4cbe-9fd6-c82dbbaafd5f" providerId="ADAL" clId="{56150486-AB01-472F-808C-CB0EC5E64382}" dt="2024-09-06T12:26:38.189" v="59"/>
          <ac:spMkLst>
            <pc:docMk/>
            <pc:sldMk cId="3179805674" sldId="2147375604"/>
            <ac:spMk id="11" creationId="{DE9F1BE0-7910-FA1B-DCE8-56EFD1E4FC09}"/>
          </ac:spMkLst>
        </pc:spChg>
        <pc:picChg chg="del">
          <ac:chgData name="Dhruw, Kabir SBOBNG-PTIV/LC" userId="b937d6d8-898d-4cbe-9fd6-c82dbbaafd5f" providerId="ADAL" clId="{56150486-AB01-472F-808C-CB0EC5E64382}" dt="2024-09-06T12:41:34.211" v="1004" actId="478"/>
          <ac:picMkLst>
            <pc:docMk/>
            <pc:sldMk cId="3179805674" sldId="2147375604"/>
            <ac:picMk id="6" creationId="{29E78300-98C3-E163-6145-FB5C9F74B18B}"/>
          </ac:picMkLst>
        </pc:picChg>
        <pc:picChg chg="add mod">
          <ac:chgData name="Dhruw, Kabir SBOBNG-PTIV/LC" userId="b937d6d8-898d-4cbe-9fd6-c82dbbaafd5f" providerId="ADAL" clId="{56150486-AB01-472F-808C-CB0EC5E64382}" dt="2024-09-06T12:41:47.843" v="1009" actId="962"/>
          <ac:picMkLst>
            <pc:docMk/>
            <pc:sldMk cId="3179805674" sldId="2147375604"/>
            <ac:picMk id="8" creationId="{C32D8F2D-7893-1160-0237-670673DDB4F9}"/>
          </ac:picMkLst>
        </pc:picChg>
      </pc:sldChg>
      <pc:sldChg chg="addSp delSp modSp mod">
        <pc:chgData name="Dhruw, Kabir SBOBNG-PTIV/LC" userId="b937d6d8-898d-4cbe-9fd6-c82dbbaafd5f" providerId="ADAL" clId="{56150486-AB01-472F-808C-CB0EC5E64382}" dt="2024-09-06T12:41:07.310" v="1003" actId="1076"/>
        <pc:sldMkLst>
          <pc:docMk/>
          <pc:sldMk cId="86366928" sldId="2147375605"/>
        </pc:sldMkLst>
        <pc:spChg chg="mod">
          <ac:chgData name="Dhruw, Kabir SBOBNG-PTIV/LC" userId="b937d6d8-898d-4cbe-9fd6-c82dbbaafd5f" providerId="ADAL" clId="{56150486-AB01-472F-808C-CB0EC5E64382}" dt="2024-09-06T12:27:17.461" v="69" actId="255"/>
          <ac:spMkLst>
            <pc:docMk/>
            <pc:sldMk cId="86366928" sldId="2147375605"/>
            <ac:spMk id="11" creationId="{DE9F1BE0-7910-FA1B-DCE8-56EFD1E4FC09}"/>
          </ac:spMkLst>
        </pc:spChg>
        <pc:picChg chg="del">
          <ac:chgData name="Dhruw, Kabir SBOBNG-PTIV/LC" userId="b937d6d8-898d-4cbe-9fd6-c82dbbaafd5f" providerId="ADAL" clId="{56150486-AB01-472F-808C-CB0EC5E64382}" dt="2024-09-06T12:40:49.085" v="995" actId="478"/>
          <ac:picMkLst>
            <pc:docMk/>
            <pc:sldMk cId="86366928" sldId="2147375605"/>
            <ac:picMk id="6" creationId="{D312A917-7B74-8A70-0956-E55184C9B353}"/>
          </ac:picMkLst>
        </pc:picChg>
        <pc:picChg chg="add mod">
          <ac:chgData name="Dhruw, Kabir SBOBNG-PTIV/LC" userId="b937d6d8-898d-4cbe-9fd6-c82dbbaafd5f" providerId="ADAL" clId="{56150486-AB01-472F-808C-CB0EC5E64382}" dt="2024-09-06T12:41:07.310" v="1003" actId="1076"/>
          <ac:picMkLst>
            <pc:docMk/>
            <pc:sldMk cId="86366928" sldId="2147375605"/>
            <ac:picMk id="8" creationId="{FD8D0771-6278-7EF2-130A-192ADC183937}"/>
          </ac:picMkLst>
        </pc:picChg>
      </pc:sldChg>
      <pc:sldChg chg="addSp delSp modSp mod">
        <pc:chgData name="Dhruw, Kabir SBOBNG-PTIV/LC" userId="b937d6d8-898d-4cbe-9fd6-c82dbbaafd5f" providerId="ADAL" clId="{56150486-AB01-472F-808C-CB0EC5E64382}" dt="2024-09-06T12:38:30.346" v="983" actId="1076"/>
        <pc:sldMkLst>
          <pc:docMk/>
          <pc:sldMk cId="2340944189" sldId="2147375607"/>
        </pc:sldMkLst>
        <pc:spChg chg="add del">
          <ac:chgData name="Dhruw, Kabir SBOBNG-PTIV/LC" userId="b937d6d8-898d-4cbe-9fd6-c82dbbaafd5f" providerId="ADAL" clId="{56150486-AB01-472F-808C-CB0EC5E64382}" dt="2024-09-06T12:37:40.842" v="975" actId="22"/>
          <ac:spMkLst>
            <pc:docMk/>
            <pc:sldMk cId="2340944189" sldId="2147375607"/>
            <ac:spMk id="8" creationId="{4F63EA52-BC82-4CE9-71DC-3FD476C55E02}"/>
          </ac:spMkLst>
        </pc:spChg>
        <pc:spChg chg="mod">
          <ac:chgData name="Dhruw, Kabir SBOBNG-PTIV/LC" userId="b937d6d8-898d-4cbe-9fd6-c82dbbaafd5f" providerId="ADAL" clId="{56150486-AB01-472F-808C-CB0EC5E64382}" dt="2024-09-06T12:28:40.069" v="238" actId="33524"/>
          <ac:spMkLst>
            <pc:docMk/>
            <pc:sldMk cId="2340944189" sldId="2147375607"/>
            <ac:spMk id="11" creationId="{DE9F1BE0-7910-FA1B-DCE8-56EFD1E4FC09}"/>
          </ac:spMkLst>
        </pc:spChg>
        <pc:picChg chg="del">
          <ac:chgData name="Dhruw, Kabir SBOBNG-PTIV/LC" userId="b937d6d8-898d-4cbe-9fd6-c82dbbaafd5f" providerId="ADAL" clId="{56150486-AB01-472F-808C-CB0EC5E64382}" dt="2024-09-06T12:37:11.479" v="973" actId="478"/>
          <ac:picMkLst>
            <pc:docMk/>
            <pc:sldMk cId="2340944189" sldId="2147375607"/>
            <ac:picMk id="6" creationId="{9D6EC348-F4AC-D87E-FE28-FAD3879E3758}"/>
          </ac:picMkLst>
        </pc:picChg>
        <pc:picChg chg="add del mod">
          <ac:chgData name="Dhruw, Kabir SBOBNG-PTIV/LC" userId="b937d6d8-898d-4cbe-9fd6-c82dbbaafd5f" providerId="ADAL" clId="{56150486-AB01-472F-808C-CB0EC5E64382}" dt="2024-09-06T12:37:51.080" v="977" actId="478"/>
          <ac:picMkLst>
            <pc:docMk/>
            <pc:sldMk cId="2340944189" sldId="2147375607"/>
            <ac:picMk id="13" creationId="{DBCC91E5-CAB7-78DC-A1D8-DB40F81F3F54}"/>
          </ac:picMkLst>
        </pc:picChg>
        <pc:picChg chg="add mod">
          <ac:chgData name="Dhruw, Kabir SBOBNG-PTIV/LC" userId="b937d6d8-898d-4cbe-9fd6-c82dbbaafd5f" providerId="ADAL" clId="{56150486-AB01-472F-808C-CB0EC5E64382}" dt="2024-09-06T12:38:30.346" v="983" actId="1076"/>
          <ac:picMkLst>
            <pc:docMk/>
            <pc:sldMk cId="2340944189" sldId="2147375607"/>
            <ac:picMk id="15" creationId="{4CE535EE-6BF1-0FAD-300B-E8A6BD485577}"/>
          </ac:picMkLst>
        </pc:picChg>
      </pc:sldChg>
      <pc:sldChg chg="addSp delSp modSp mod">
        <pc:chgData name="Dhruw, Kabir SBOBNG-PTIV/LC" userId="b937d6d8-898d-4cbe-9fd6-c82dbbaafd5f" providerId="ADAL" clId="{56150486-AB01-472F-808C-CB0EC5E64382}" dt="2024-09-06T12:39:40.012" v="988" actId="27614"/>
        <pc:sldMkLst>
          <pc:docMk/>
          <pc:sldMk cId="3159148252" sldId="2147375608"/>
        </pc:sldMkLst>
        <pc:spChg chg="mod">
          <ac:chgData name="Dhruw, Kabir SBOBNG-PTIV/LC" userId="b937d6d8-898d-4cbe-9fd6-c82dbbaafd5f" providerId="ADAL" clId="{56150486-AB01-472F-808C-CB0EC5E64382}" dt="2024-09-06T12:29:10.517" v="320" actId="20577"/>
          <ac:spMkLst>
            <pc:docMk/>
            <pc:sldMk cId="3159148252" sldId="2147375608"/>
            <ac:spMk id="11" creationId="{DE9F1BE0-7910-FA1B-DCE8-56EFD1E4FC09}"/>
          </ac:spMkLst>
        </pc:spChg>
        <pc:picChg chg="del">
          <ac:chgData name="Dhruw, Kabir SBOBNG-PTIV/LC" userId="b937d6d8-898d-4cbe-9fd6-c82dbbaafd5f" providerId="ADAL" clId="{56150486-AB01-472F-808C-CB0EC5E64382}" dt="2024-09-06T12:38:33.295" v="984" actId="478"/>
          <ac:picMkLst>
            <pc:docMk/>
            <pc:sldMk cId="3159148252" sldId="2147375608"/>
            <ac:picMk id="6" creationId="{DAD5B57C-A853-7630-2294-A0A39F8F53F0}"/>
          </ac:picMkLst>
        </pc:picChg>
        <pc:picChg chg="add mod">
          <ac:chgData name="Dhruw, Kabir SBOBNG-PTIV/LC" userId="b937d6d8-898d-4cbe-9fd6-c82dbbaafd5f" providerId="ADAL" clId="{56150486-AB01-472F-808C-CB0EC5E64382}" dt="2024-09-06T12:39:40.012" v="988" actId="27614"/>
          <ac:picMkLst>
            <pc:docMk/>
            <pc:sldMk cId="3159148252" sldId="2147375608"/>
            <ac:picMk id="8" creationId="{A002F3C6-1A0F-18B0-4A5E-3C61A4353DAB}"/>
          </ac:picMkLst>
        </pc:picChg>
      </pc:sldChg>
      <pc:sldChg chg="addSp delSp modSp mod">
        <pc:chgData name="Dhruw, Kabir SBOBNG-PTIV/LC" userId="b937d6d8-898d-4cbe-9fd6-c82dbbaafd5f" providerId="ADAL" clId="{56150486-AB01-472F-808C-CB0EC5E64382}" dt="2024-09-06T12:40:17.399" v="994" actId="1076"/>
        <pc:sldMkLst>
          <pc:docMk/>
          <pc:sldMk cId="3070204084" sldId="2147375609"/>
        </pc:sldMkLst>
        <pc:spChg chg="mod">
          <ac:chgData name="Dhruw, Kabir SBOBNG-PTIV/LC" userId="b937d6d8-898d-4cbe-9fd6-c82dbbaafd5f" providerId="ADAL" clId="{56150486-AB01-472F-808C-CB0EC5E64382}" dt="2024-09-06T12:30:14.766" v="552" actId="20577"/>
          <ac:spMkLst>
            <pc:docMk/>
            <pc:sldMk cId="3070204084" sldId="2147375609"/>
            <ac:spMk id="11" creationId="{DE9F1BE0-7910-FA1B-DCE8-56EFD1E4FC09}"/>
          </ac:spMkLst>
        </pc:spChg>
        <pc:picChg chg="del">
          <ac:chgData name="Dhruw, Kabir SBOBNG-PTIV/LC" userId="b937d6d8-898d-4cbe-9fd6-c82dbbaafd5f" providerId="ADAL" clId="{56150486-AB01-472F-808C-CB0EC5E64382}" dt="2024-09-06T12:39:42.086" v="989" actId="478"/>
          <ac:picMkLst>
            <pc:docMk/>
            <pc:sldMk cId="3070204084" sldId="2147375609"/>
            <ac:picMk id="6" creationId="{F3B66E1F-6365-1F7D-BE6B-C77A3676057E}"/>
          </ac:picMkLst>
        </pc:picChg>
        <pc:picChg chg="add mod">
          <ac:chgData name="Dhruw, Kabir SBOBNG-PTIV/LC" userId="b937d6d8-898d-4cbe-9fd6-c82dbbaafd5f" providerId="ADAL" clId="{56150486-AB01-472F-808C-CB0EC5E64382}" dt="2024-09-06T12:40:17.399" v="994" actId="1076"/>
          <ac:picMkLst>
            <pc:docMk/>
            <pc:sldMk cId="3070204084" sldId="2147375609"/>
            <ac:picMk id="8" creationId="{847966B5-9783-50DC-3EA7-76F34F25ACCC}"/>
          </ac:picMkLst>
        </pc:picChg>
      </pc:sldChg>
      <pc:sldChg chg="modSp mod">
        <pc:chgData name="Dhruw, Kabir SBOBNG-PTIV/LC" userId="b937d6d8-898d-4cbe-9fd6-c82dbbaafd5f" providerId="ADAL" clId="{56150486-AB01-472F-808C-CB0EC5E64382}" dt="2024-09-06T12:31:01.593" v="667" actId="20577"/>
        <pc:sldMkLst>
          <pc:docMk/>
          <pc:sldMk cId="3754613224" sldId="2147375611"/>
        </pc:sldMkLst>
        <pc:spChg chg="mod">
          <ac:chgData name="Dhruw, Kabir SBOBNG-PTIV/LC" userId="b937d6d8-898d-4cbe-9fd6-c82dbbaafd5f" providerId="ADAL" clId="{56150486-AB01-472F-808C-CB0EC5E64382}" dt="2024-09-06T12:31:01.593" v="667" actId="20577"/>
          <ac:spMkLst>
            <pc:docMk/>
            <pc:sldMk cId="3754613224" sldId="2147375611"/>
            <ac:spMk id="18" creationId="{6C73795A-BE20-7075-E9C6-6F145CE60794}"/>
          </ac:spMkLst>
        </pc:spChg>
        <pc:spChg chg="mod">
          <ac:chgData name="Dhruw, Kabir SBOBNG-PTIV/LC" userId="b937d6d8-898d-4cbe-9fd6-c82dbbaafd5f" providerId="ADAL" clId="{56150486-AB01-472F-808C-CB0EC5E64382}" dt="2024-09-06T12:30:34.852" v="592" actId="20577"/>
          <ac:spMkLst>
            <pc:docMk/>
            <pc:sldMk cId="3754613224" sldId="2147375611"/>
            <ac:spMk id="19" creationId="{A3E2F4D1-4417-E244-3DB9-A6FF5866A342}"/>
          </ac:spMkLst>
        </pc:spChg>
        <pc:spChg chg="mod">
          <ac:chgData name="Dhruw, Kabir SBOBNG-PTIV/LC" userId="b937d6d8-898d-4cbe-9fd6-c82dbbaafd5f" providerId="ADAL" clId="{56150486-AB01-472F-808C-CB0EC5E64382}" dt="2024-09-06T12:30:42.775" v="618" actId="20577"/>
          <ac:spMkLst>
            <pc:docMk/>
            <pc:sldMk cId="3754613224" sldId="2147375611"/>
            <ac:spMk id="20" creationId="{3EBEB0AC-D407-44FD-A74F-90F67F3D13C3}"/>
          </ac:spMkLst>
        </pc:spChg>
      </pc:sldChg>
      <pc:sldChg chg="addSp delSp modSp mod">
        <pc:chgData name="Dhruw, Kabir SBOBNG-PTIV/LC" userId="b937d6d8-898d-4cbe-9fd6-c82dbbaafd5f" providerId="ADAL" clId="{56150486-AB01-472F-808C-CB0EC5E64382}" dt="2024-09-06T12:45:04.462" v="1039" actId="20577"/>
        <pc:sldMkLst>
          <pc:docMk/>
          <pc:sldMk cId="1148838763" sldId="2147375613"/>
        </pc:sldMkLst>
        <pc:spChg chg="mod">
          <ac:chgData name="Dhruw, Kabir SBOBNG-PTIV/LC" userId="b937d6d8-898d-4cbe-9fd6-c82dbbaafd5f" providerId="ADAL" clId="{56150486-AB01-472F-808C-CB0EC5E64382}" dt="2024-09-06T12:45:04.462" v="1039" actId="20577"/>
          <ac:spMkLst>
            <pc:docMk/>
            <pc:sldMk cId="1148838763" sldId="2147375613"/>
            <ac:spMk id="11" creationId="{8CC1343B-2E39-FEFF-8FF6-46822F18B432}"/>
          </ac:spMkLst>
        </pc:spChg>
        <pc:picChg chg="del">
          <ac:chgData name="Dhruw, Kabir SBOBNG-PTIV/LC" userId="b937d6d8-898d-4cbe-9fd6-c82dbbaafd5f" providerId="ADAL" clId="{56150486-AB01-472F-808C-CB0EC5E64382}" dt="2024-09-06T12:42:15.828" v="1011" actId="478"/>
          <ac:picMkLst>
            <pc:docMk/>
            <pc:sldMk cId="1148838763" sldId="2147375613"/>
            <ac:picMk id="6" creationId="{B843856E-5A86-5ED8-ECC4-8DBEDF5F271B}"/>
          </ac:picMkLst>
        </pc:picChg>
        <pc:picChg chg="add mod">
          <ac:chgData name="Dhruw, Kabir SBOBNG-PTIV/LC" userId="b937d6d8-898d-4cbe-9fd6-c82dbbaafd5f" providerId="ADAL" clId="{56150486-AB01-472F-808C-CB0EC5E64382}" dt="2024-09-06T12:42:28.227" v="1015" actId="27614"/>
          <ac:picMkLst>
            <pc:docMk/>
            <pc:sldMk cId="1148838763" sldId="2147375613"/>
            <ac:picMk id="8" creationId="{8D66E228-C2CB-D0A5-ACA3-06AC6CC9CF55}"/>
          </ac:picMkLst>
        </pc:picChg>
      </pc:sldChg>
      <pc:sldChg chg="modSp mod">
        <pc:chgData name="Dhruw, Kabir SBOBNG-PTIV/LC" userId="b937d6d8-898d-4cbe-9fd6-c82dbbaafd5f" providerId="ADAL" clId="{56150486-AB01-472F-808C-CB0EC5E64382}" dt="2024-09-06T12:33:50.724" v="972"/>
        <pc:sldMkLst>
          <pc:docMk/>
          <pc:sldMk cId="3865850111" sldId="2147375614"/>
        </pc:sldMkLst>
        <pc:spChg chg="mod">
          <ac:chgData name="Dhruw, Kabir SBOBNG-PTIV/LC" userId="b937d6d8-898d-4cbe-9fd6-c82dbbaafd5f" providerId="ADAL" clId="{56150486-AB01-472F-808C-CB0EC5E64382}" dt="2024-09-06T12:33:50.724" v="972"/>
          <ac:spMkLst>
            <pc:docMk/>
            <pc:sldMk cId="3865850111" sldId="2147375614"/>
            <ac:spMk id="6" creationId="{AC2F88D2-81D4-FAD4-568E-A3F495B06411}"/>
          </ac:spMkLst>
        </pc:spChg>
      </pc:sldChg>
    </pc:docChg>
  </pc:docChgLst>
  <pc:docChgLst>
    <pc:chgData name="Dhruw, Kabir SBOBNG-PTIV/LC" userId="b937d6d8-898d-4cbe-9fd6-c82dbbaafd5f" providerId="ADAL" clId="{C8C2C6EA-4625-4B71-8B36-BA8B2EA63D0C}"/>
    <pc:docChg chg="undo custSel modSld">
      <pc:chgData name="Dhruw, Kabir SBOBNG-PTIV/LC" userId="b937d6d8-898d-4cbe-9fd6-c82dbbaafd5f" providerId="ADAL" clId="{C8C2C6EA-4625-4B71-8B36-BA8B2EA63D0C}" dt="2024-09-19T10:02:29.126" v="303" actId="962"/>
      <pc:docMkLst>
        <pc:docMk/>
      </pc:docMkLst>
      <pc:sldChg chg="modSp mod">
        <pc:chgData name="Dhruw, Kabir SBOBNG-PTIV/LC" userId="b937d6d8-898d-4cbe-9fd6-c82dbbaafd5f" providerId="ADAL" clId="{C8C2C6EA-4625-4B71-8B36-BA8B2EA63D0C}" dt="2024-09-19T09:40:50.516" v="3" actId="20577"/>
        <pc:sldMkLst>
          <pc:docMk/>
          <pc:sldMk cId="3267775274" sldId="256"/>
        </pc:sldMkLst>
        <pc:spChg chg="mod">
          <ac:chgData name="Dhruw, Kabir SBOBNG-PTIV/LC" userId="b937d6d8-898d-4cbe-9fd6-c82dbbaafd5f" providerId="ADAL" clId="{C8C2C6EA-4625-4B71-8B36-BA8B2EA63D0C}" dt="2024-09-19T09:40:47.203" v="1" actId="20577"/>
          <ac:spMkLst>
            <pc:docMk/>
            <pc:sldMk cId="3267775274" sldId="256"/>
            <ac:spMk id="6" creationId="{0C37A4A8-A3C7-407F-B123-88E2E165C827}"/>
          </ac:spMkLst>
        </pc:spChg>
        <pc:spChg chg="mod">
          <ac:chgData name="Dhruw, Kabir SBOBNG-PTIV/LC" userId="b937d6d8-898d-4cbe-9fd6-c82dbbaafd5f" providerId="ADAL" clId="{C8C2C6EA-4625-4B71-8B36-BA8B2EA63D0C}" dt="2024-09-19T09:40:50.516" v="3" actId="20577"/>
          <ac:spMkLst>
            <pc:docMk/>
            <pc:sldMk cId="3267775274" sldId="256"/>
            <ac:spMk id="13" creationId="{C48F8DD6-A1B3-8126-FAC3-218B712C7FFB}"/>
          </ac:spMkLst>
        </pc:spChg>
      </pc:sldChg>
      <pc:sldChg chg="addSp delSp modSp mod">
        <pc:chgData name="Dhruw, Kabir SBOBNG-PTIV/LC" userId="b937d6d8-898d-4cbe-9fd6-c82dbbaafd5f" providerId="ADAL" clId="{C8C2C6EA-4625-4B71-8B36-BA8B2EA63D0C}" dt="2024-09-19T09:51:12.206" v="117" actId="1076"/>
        <pc:sldMkLst>
          <pc:docMk/>
          <pc:sldMk cId="245881457" sldId="2147375597"/>
        </pc:sldMkLst>
        <pc:spChg chg="mod">
          <ac:chgData name="Dhruw, Kabir SBOBNG-PTIV/LC" userId="b937d6d8-898d-4cbe-9fd6-c82dbbaafd5f" providerId="ADAL" clId="{C8C2C6EA-4625-4B71-8B36-BA8B2EA63D0C}" dt="2024-09-19T09:50:38.396" v="111" actId="20577"/>
          <ac:spMkLst>
            <pc:docMk/>
            <pc:sldMk cId="245881457" sldId="2147375597"/>
            <ac:spMk id="11" creationId="{DE9F1BE0-7910-FA1B-DCE8-56EFD1E4FC09}"/>
          </ac:spMkLst>
        </pc:spChg>
        <pc:picChg chg="add mod">
          <ac:chgData name="Dhruw, Kabir SBOBNG-PTIV/LC" userId="b937d6d8-898d-4cbe-9fd6-c82dbbaafd5f" providerId="ADAL" clId="{C8C2C6EA-4625-4B71-8B36-BA8B2EA63D0C}" dt="2024-09-19T09:51:12.206" v="117" actId="1076"/>
          <ac:picMkLst>
            <pc:docMk/>
            <pc:sldMk cId="245881457" sldId="2147375597"/>
            <ac:picMk id="5" creationId="{C27B2D86-D7BB-AC72-E3C4-4AD7F45F1DCB}"/>
          </ac:picMkLst>
        </pc:picChg>
        <pc:picChg chg="del">
          <ac:chgData name="Dhruw, Kabir SBOBNG-PTIV/LC" userId="b937d6d8-898d-4cbe-9fd6-c82dbbaafd5f" providerId="ADAL" clId="{C8C2C6EA-4625-4B71-8B36-BA8B2EA63D0C}" dt="2024-09-19T09:50:45.964" v="112" actId="478"/>
          <ac:picMkLst>
            <pc:docMk/>
            <pc:sldMk cId="245881457" sldId="2147375597"/>
            <ac:picMk id="6" creationId="{B12A6FFD-1111-2C35-02D3-14A1E6D0E800}"/>
          </ac:picMkLst>
        </pc:picChg>
      </pc:sldChg>
      <pc:sldChg chg="addSp delSp modSp mod">
        <pc:chgData name="Dhruw, Kabir SBOBNG-PTIV/LC" userId="b937d6d8-898d-4cbe-9fd6-c82dbbaafd5f" providerId="ADAL" clId="{C8C2C6EA-4625-4B71-8B36-BA8B2EA63D0C}" dt="2024-09-19T09:51:36.662" v="123" actId="1076"/>
        <pc:sldMkLst>
          <pc:docMk/>
          <pc:sldMk cId="1181112711" sldId="2147375600"/>
        </pc:sldMkLst>
        <pc:spChg chg="mod">
          <ac:chgData name="Dhruw, Kabir SBOBNG-PTIV/LC" userId="b937d6d8-898d-4cbe-9fd6-c82dbbaafd5f" providerId="ADAL" clId="{C8C2C6EA-4625-4B71-8B36-BA8B2EA63D0C}" dt="2024-09-19T09:45:58.303" v="80" actId="20577"/>
          <ac:spMkLst>
            <pc:docMk/>
            <pc:sldMk cId="1181112711" sldId="2147375600"/>
            <ac:spMk id="11" creationId="{DE9F1BE0-7910-FA1B-DCE8-56EFD1E4FC09}"/>
          </ac:spMkLst>
        </pc:spChg>
        <pc:picChg chg="del">
          <ac:chgData name="Dhruw, Kabir SBOBNG-PTIV/LC" userId="b937d6d8-898d-4cbe-9fd6-c82dbbaafd5f" providerId="ADAL" clId="{C8C2C6EA-4625-4B71-8B36-BA8B2EA63D0C}" dt="2024-09-19T09:51:17.560" v="118" actId="478"/>
          <ac:picMkLst>
            <pc:docMk/>
            <pc:sldMk cId="1181112711" sldId="2147375600"/>
            <ac:picMk id="5" creationId="{B60E5844-AC23-5657-09D9-6341F619D132}"/>
          </ac:picMkLst>
        </pc:picChg>
        <pc:picChg chg="add mod">
          <ac:chgData name="Dhruw, Kabir SBOBNG-PTIV/LC" userId="b937d6d8-898d-4cbe-9fd6-c82dbbaafd5f" providerId="ADAL" clId="{C8C2C6EA-4625-4B71-8B36-BA8B2EA63D0C}" dt="2024-09-19T09:51:36.662" v="123" actId="1076"/>
          <ac:picMkLst>
            <pc:docMk/>
            <pc:sldMk cId="1181112711" sldId="2147375600"/>
            <ac:picMk id="6" creationId="{65DDA6C2-2480-5605-02C4-B9ACB5ECA2D2}"/>
          </ac:picMkLst>
        </pc:picChg>
      </pc:sldChg>
      <pc:sldChg chg="addSp delSp modSp mod">
        <pc:chgData name="Dhruw, Kabir SBOBNG-PTIV/LC" userId="b937d6d8-898d-4cbe-9fd6-c82dbbaafd5f" providerId="ADAL" clId="{C8C2C6EA-4625-4B71-8B36-BA8B2EA63D0C}" dt="2024-09-19T09:52:10.055" v="129" actId="962"/>
        <pc:sldMkLst>
          <pc:docMk/>
          <pc:sldMk cId="3233747587" sldId="2147375601"/>
        </pc:sldMkLst>
        <pc:spChg chg="mod">
          <ac:chgData name="Dhruw, Kabir SBOBNG-PTIV/LC" userId="b937d6d8-898d-4cbe-9fd6-c82dbbaafd5f" providerId="ADAL" clId="{C8C2C6EA-4625-4B71-8B36-BA8B2EA63D0C}" dt="2024-09-19T09:48:59.791" v="89" actId="20577"/>
          <ac:spMkLst>
            <pc:docMk/>
            <pc:sldMk cId="3233747587" sldId="2147375601"/>
            <ac:spMk id="11" creationId="{DE9F1BE0-7910-FA1B-DCE8-56EFD1E4FC09}"/>
          </ac:spMkLst>
        </pc:spChg>
        <pc:picChg chg="add mod">
          <ac:chgData name="Dhruw, Kabir SBOBNG-PTIV/LC" userId="b937d6d8-898d-4cbe-9fd6-c82dbbaafd5f" providerId="ADAL" clId="{C8C2C6EA-4625-4B71-8B36-BA8B2EA63D0C}" dt="2024-09-19T09:52:10.055" v="129" actId="962"/>
          <ac:picMkLst>
            <pc:docMk/>
            <pc:sldMk cId="3233747587" sldId="2147375601"/>
            <ac:picMk id="5" creationId="{AD5E0326-6A7E-FE7F-820E-DB89C1C1B477}"/>
          </ac:picMkLst>
        </pc:picChg>
        <pc:picChg chg="del">
          <ac:chgData name="Dhruw, Kabir SBOBNG-PTIV/LC" userId="b937d6d8-898d-4cbe-9fd6-c82dbbaafd5f" providerId="ADAL" clId="{C8C2C6EA-4625-4B71-8B36-BA8B2EA63D0C}" dt="2024-09-19T09:51:39.736" v="124" actId="478"/>
          <ac:picMkLst>
            <pc:docMk/>
            <pc:sldMk cId="3233747587" sldId="2147375601"/>
            <ac:picMk id="13" creationId="{F631ECD4-C343-EC80-7637-CA51A4EE2AD9}"/>
          </ac:picMkLst>
        </pc:picChg>
      </pc:sldChg>
      <pc:sldChg chg="addSp delSp modSp mod">
        <pc:chgData name="Dhruw, Kabir SBOBNG-PTIV/LC" userId="b937d6d8-898d-4cbe-9fd6-c82dbbaafd5f" providerId="ADAL" clId="{C8C2C6EA-4625-4B71-8B36-BA8B2EA63D0C}" dt="2024-09-19T09:53:12.429" v="136" actId="27614"/>
        <pc:sldMkLst>
          <pc:docMk/>
          <pc:sldMk cId="3971512377" sldId="2147375603"/>
        </pc:sldMkLst>
        <pc:spChg chg="mod">
          <ac:chgData name="Dhruw, Kabir SBOBNG-PTIV/LC" userId="b937d6d8-898d-4cbe-9fd6-c82dbbaafd5f" providerId="ADAL" clId="{C8C2C6EA-4625-4B71-8B36-BA8B2EA63D0C}" dt="2024-09-19T09:44:26.055" v="59"/>
          <ac:spMkLst>
            <pc:docMk/>
            <pc:sldMk cId="3971512377" sldId="2147375603"/>
            <ac:spMk id="11" creationId="{DE9F1BE0-7910-FA1B-DCE8-56EFD1E4FC09}"/>
          </ac:spMkLst>
        </pc:spChg>
        <pc:spChg chg="mod">
          <ac:chgData name="Dhruw, Kabir SBOBNG-PTIV/LC" userId="b937d6d8-898d-4cbe-9fd6-c82dbbaafd5f" providerId="ADAL" clId="{C8C2C6EA-4625-4B71-8B36-BA8B2EA63D0C}" dt="2024-09-19T09:52:59.050" v="132"/>
          <ac:spMkLst>
            <pc:docMk/>
            <pc:sldMk cId="3971512377" sldId="2147375603"/>
            <ac:spMk id="12" creationId="{E53E5C3F-4D2B-B85F-E592-E58E032C664C}"/>
          </ac:spMkLst>
        </pc:spChg>
        <pc:picChg chg="del">
          <ac:chgData name="Dhruw, Kabir SBOBNG-PTIV/LC" userId="b937d6d8-898d-4cbe-9fd6-c82dbbaafd5f" providerId="ADAL" clId="{C8C2C6EA-4625-4B71-8B36-BA8B2EA63D0C}" dt="2024-09-19T09:52:16.276" v="130" actId="478"/>
          <ac:picMkLst>
            <pc:docMk/>
            <pc:sldMk cId="3971512377" sldId="2147375603"/>
            <ac:picMk id="6" creationId="{BBCF33F2-F1F7-E59E-88F9-39A5881474E1}"/>
          </ac:picMkLst>
        </pc:picChg>
        <pc:picChg chg="add mod">
          <ac:chgData name="Dhruw, Kabir SBOBNG-PTIV/LC" userId="b937d6d8-898d-4cbe-9fd6-c82dbbaafd5f" providerId="ADAL" clId="{C8C2C6EA-4625-4B71-8B36-BA8B2EA63D0C}" dt="2024-09-19T09:53:12.429" v="136" actId="27614"/>
          <ac:picMkLst>
            <pc:docMk/>
            <pc:sldMk cId="3971512377" sldId="2147375603"/>
            <ac:picMk id="8" creationId="{82CE5116-350A-E975-604E-CF1848233CE5}"/>
          </ac:picMkLst>
        </pc:picChg>
      </pc:sldChg>
      <pc:sldChg chg="addSp delSp modSp mod">
        <pc:chgData name="Dhruw, Kabir SBOBNG-PTIV/LC" userId="b937d6d8-898d-4cbe-9fd6-c82dbbaafd5f" providerId="ADAL" clId="{C8C2C6EA-4625-4B71-8B36-BA8B2EA63D0C}" dt="2024-09-19T09:54:38.897" v="145" actId="27614"/>
        <pc:sldMkLst>
          <pc:docMk/>
          <pc:sldMk cId="3179805674" sldId="2147375604"/>
        </pc:sldMkLst>
        <pc:spChg chg="mod">
          <ac:chgData name="Dhruw, Kabir SBOBNG-PTIV/LC" userId="b937d6d8-898d-4cbe-9fd6-c82dbbaafd5f" providerId="ADAL" clId="{C8C2C6EA-4625-4B71-8B36-BA8B2EA63D0C}" dt="2024-09-19T09:47:03.151" v="82" actId="404"/>
          <ac:spMkLst>
            <pc:docMk/>
            <pc:sldMk cId="3179805674" sldId="2147375604"/>
            <ac:spMk id="11" creationId="{DE9F1BE0-7910-FA1B-DCE8-56EFD1E4FC09}"/>
          </ac:spMkLst>
        </pc:spChg>
        <pc:picChg chg="del">
          <ac:chgData name="Dhruw, Kabir SBOBNG-PTIV/LC" userId="b937d6d8-898d-4cbe-9fd6-c82dbbaafd5f" providerId="ADAL" clId="{C8C2C6EA-4625-4B71-8B36-BA8B2EA63D0C}" dt="2024-09-19T09:54:02.500" v="141" actId="478"/>
          <ac:picMkLst>
            <pc:docMk/>
            <pc:sldMk cId="3179805674" sldId="2147375604"/>
            <ac:picMk id="6" creationId="{A2758902-E56D-80E1-CA26-E87076C95308}"/>
          </ac:picMkLst>
        </pc:picChg>
        <pc:picChg chg="add mod">
          <ac:chgData name="Dhruw, Kabir SBOBNG-PTIV/LC" userId="b937d6d8-898d-4cbe-9fd6-c82dbbaafd5f" providerId="ADAL" clId="{C8C2C6EA-4625-4B71-8B36-BA8B2EA63D0C}" dt="2024-09-19T09:54:38.897" v="145" actId="27614"/>
          <ac:picMkLst>
            <pc:docMk/>
            <pc:sldMk cId="3179805674" sldId="2147375604"/>
            <ac:picMk id="8" creationId="{71E61D37-167C-2F80-DD30-7C9C41421466}"/>
          </ac:picMkLst>
        </pc:picChg>
      </pc:sldChg>
      <pc:sldChg chg="addSp delSp modSp mod">
        <pc:chgData name="Dhruw, Kabir SBOBNG-PTIV/LC" userId="b937d6d8-898d-4cbe-9fd6-c82dbbaafd5f" providerId="ADAL" clId="{C8C2C6EA-4625-4B71-8B36-BA8B2EA63D0C}" dt="2024-09-19T09:55:00.954" v="151" actId="962"/>
        <pc:sldMkLst>
          <pc:docMk/>
          <pc:sldMk cId="86366928" sldId="2147375605"/>
        </pc:sldMkLst>
        <pc:spChg chg="mod">
          <ac:chgData name="Dhruw, Kabir SBOBNG-PTIV/LC" userId="b937d6d8-898d-4cbe-9fd6-c82dbbaafd5f" providerId="ADAL" clId="{C8C2C6EA-4625-4B71-8B36-BA8B2EA63D0C}" dt="2024-09-19T09:49:25.145" v="91" actId="404"/>
          <ac:spMkLst>
            <pc:docMk/>
            <pc:sldMk cId="86366928" sldId="2147375605"/>
            <ac:spMk id="11" creationId="{DE9F1BE0-7910-FA1B-DCE8-56EFD1E4FC09}"/>
          </ac:spMkLst>
        </pc:spChg>
        <pc:picChg chg="add mod">
          <ac:chgData name="Dhruw, Kabir SBOBNG-PTIV/LC" userId="b937d6d8-898d-4cbe-9fd6-c82dbbaafd5f" providerId="ADAL" clId="{C8C2C6EA-4625-4B71-8B36-BA8B2EA63D0C}" dt="2024-09-19T09:55:00.954" v="151" actId="962"/>
          <ac:picMkLst>
            <pc:docMk/>
            <pc:sldMk cId="86366928" sldId="2147375605"/>
            <ac:picMk id="6" creationId="{158753A3-4F57-9061-9FF6-0CDA3BF901E5}"/>
          </ac:picMkLst>
        </pc:picChg>
        <pc:picChg chg="del">
          <ac:chgData name="Dhruw, Kabir SBOBNG-PTIV/LC" userId="b937d6d8-898d-4cbe-9fd6-c82dbbaafd5f" providerId="ADAL" clId="{C8C2C6EA-4625-4B71-8B36-BA8B2EA63D0C}" dt="2024-09-19T09:54:42.851" v="146" actId="478"/>
          <ac:picMkLst>
            <pc:docMk/>
            <pc:sldMk cId="86366928" sldId="2147375605"/>
            <ac:picMk id="13" creationId="{04F6F640-6064-D765-7B55-FFCDB157B08C}"/>
          </ac:picMkLst>
        </pc:picChg>
      </pc:sldChg>
      <pc:sldChg chg="addSp delSp modSp mod">
        <pc:chgData name="Dhruw, Kabir SBOBNG-PTIV/LC" userId="b937d6d8-898d-4cbe-9fd6-c82dbbaafd5f" providerId="ADAL" clId="{C8C2C6EA-4625-4B71-8B36-BA8B2EA63D0C}" dt="2024-09-19T09:53:52.243" v="140" actId="27614"/>
        <pc:sldMkLst>
          <pc:docMk/>
          <pc:sldMk cId="2340944189" sldId="2147375607"/>
        </pc:sldMkLst>
        <pc:spChg chg="mod">
          <ac:chgData name="Dhruw, Kabir SBOBNG-PTIV/LC" userId="b937d6d8-898d-4cbe-9fd6-c82dbbaafd5f" providerId="ADAL" clId="{C8C2C6EA-4625-4B71-8B36-BA8B2EA63D0C}" dt="2024-09-19T09:44:51.069" v="62" actId="404"/>
          <ac:spMkLst>
            <pc:docMk/>
            <pc:sldMk cId="2340944189" sldId="2147375607"/>
            <ac:spMk id="11" creationId="{DE9F1BE0-7910-FA1B-DCE8-56EFD1E4FC09}"/>
          </ac:spMkLst>
        </pc:spChg>
        <pc:picChg chg="del">
          <ac:chgData name="Dhruw, Kabir SBOBNG-PTIV/LC" userId="b937d6d8-898d-4cbe-9fd6-c82dbbaafd5f" providerId="ADAL" clId="{C8C2C6EA-4625-4B71-8B36-BA8B2EA63D0C}" dt="2024-09-19T09:53:12.395" v="135" actId="478"/>
          <ac:picMkLst>
            <pc:docMk/>
            <pc:sldMk cId="2340944189" sldId="2147375607"/>
            <ac:picMk id="6" creationId="{8A9DC4D5-2047-92FE-CA07-8983F44804E8}"/>
          </ac:picMkLst>
        </pc:picChg>
        <pc:picChg chg="add mod">
          <ac:chgData name="Dhruw, Kabir SBOBNG-PTIV/LC" userId="b937d6d8-898d-4cbe-9fd6-c82dbbaafd5f" providerId="ADAL" clId="{C8C2C6EA-4625-4B71-8B36-BA8B2EA63D0C}" dt="2024-09-19T09:53:52.243" v="140" actId="27614"/>
          <ac:picMkLst>
            <pc:docMk/>
            <pc:sldMk cId="2340944189" sldId="2147375607"/>
            <ac:picMk id="8" creationId="{5AC43CEB-CECF-B149-ABCC-54771E0F7F3D}"/>
          </ac:picMkLst>
        </pc:picChg>
      </pc:sldChg>
      <pc:sldChg chg="addSp delSp modSp mod">
        <pc:chgData name="Dhruw, Kabir SBOBNG-PTIV/LC" userId="b937d6d8-898d-4cbe-9fd6-c82dbbaafd5f" providerId="ADAL" clId="{C8C2C6EA-4625-4B71-8B36-BA8B2EA63D0C}" dt="2024-09-19T09:56:03.330" v="163" actId="27614"/>
        <pc:sldMkLst>
          <pc:docMk/>
          <pc:sldMk cId="3159148252" sldId="2147375608"/>
        </pc:sldMkLst>
        <pc:spChg chg="mod">
          <ac:chgData name="Dhruw, Kabir SBOBNG-PTIV/LC" userId="b937d6d8-898d-4cbe-9fd6-c82dbbaafd5f" providerId="ADAL" clId="{C8C2C6EA-4625-4B71-8B36-BA8B2EA63D0C}" dt="2024-09-19T09:47:23.584" v="83"/>
          <ac:spMkLst>
            <pc:docMk/>
            <pc:sldMk cId="3159148252" sldId="2147375608"/>
            <ac:spMk id="11" creationId="{DE9F1BE0-7910-FA1B-DCE8-56EFD1E4FC09}"/>
          </ac:spMkLst>
        </pc:spChg>
        <pc:picChg chg="del">
          <ac:chgData name="Dhruw, Kabir SBOBNG-PTIV/LC" userId="b937d6d8-898d-4cbe-9fd6-c82dbbaafd5f" providerId="ADAL" clId="{C8C2C6EA-4625-4B71-8B36-BA8B2EA63D0C}" dt="2024-09-19T09:55:27.272" v="160" actId="478"/>
          <ac:picMkLst>
            <pc:docMk/>
            <pc:sldMk cId="3159148252" sldId="2147375608"/>
            <ac:picMk id="6" creationId="{17165E6C-3683-865D-F866-9F3D936D7070}"/>
          </ac:picMkLst>
        </pc:picChg>
        <pc:picChg chg="add mod">
          <ac:chgData name="Dhruw, Kabir SBOBNG-PTIV/LC" userId="b937d6d8-898d-4cbe-9fd6-c82dbbaafd5f" providerId="ADAL" clId="{C8C2C6EA-4625-4B71-8B36-BA8B2EA63D0C}" dt="2024-09-19T09:56:03.330" v="163" actId="27614"/>
          <ac:picMkLst>
            <pc:docMk/>
            <pc:sldMk cId="3159148252" sldId="2147375608"/>
            <ac:picMk id="8" creationId="{653618B6-015D-F712-B13C-390CA4A2167E}"/>
          </ac:picMkLst>
        </pc:picChg>
      </pc:sldChg>
      <pc:sldChg chg="addSp delSp modSp mod">
        <pc:chgData name="Dhruw, Kabir SBOBNG-PTIV/LC" userId="b937d6d8-898d-4cbe-9fd6-c82dbbaafd5f" providerId="ADAL" clId="{C8C2C6EA-4625-4B71-8B36-BA8B2EA63D0C}" dt="2024-09-19T09:55:23.702" v="159" actId="1076"/>
        <pc:sldMkLst>
          <pc:docMk/>
          <pc:sldMk cId="3070204084" sldId="2147375609"/>
        </pc:sldMkLst>
        <pc:spChg chg="mod">
          <ac:chgData name="Dhruw, Kabir SBOBNG-PTIV/LC" userId="b937d6d8-898d-4cbe-9fd6-c82dbbaafd5f" providerId="ADAL" clId="{C8C2C6EA-4625-4B71-8B36-BA8B2EA63D0C}" dt="2024-09-19T09:49:54.284" v="93" actId="20577"/>
          <ac:spMkLst>
            <pc:docMk/>
            <pc:sldMk cId="3070204084" sldId="2147375609"/>
            <ac:spMk id="11" creationId="{DE9F1BE0-7910-FA1B-DCE8-56EFD1E4FC09}"/>
          </ac:spMkLst>
        </pc:spChg>
        <pc:picChg chg="del">
          <ac:chgData name="Dhruw, Kabir SBOBNG-PTIV/LC" userId="b937d6d8-898d-4cbe-9fd6-c82dbbaafd5f" providerId="ADAL" clId="{C8C2C6EA-4625-4B71-8B36-BA8B2EA63D0C}" dt="2024-09-19T09:55:04.771" v="152" actId="478"/>
          <ac:picMkLst>
            <pc:docMk/>
            <pc:sldMk cId="3070204084" sldId="2147375609"/>
            <ac:picMk id="6" creationId="{DDE175A1-EE97-5218-DD25-EC259AE717CA}"/>
          </ac:picMkLst>
        </pc:picChg>
        <pc:picChg chg="add mod">
          <ac:chgData name="Dhruw, Kabir SBOBNG-PTIV/LC" userId="b937d6d8-898d-4cbe-9fd6-c82dbbaafd5f" providerId="ADAL" clId="{C8C2C6EA-4625-4B71-8B36-BA8B2EA63D0C}" dt="2024-09-19T09:55:23.702" v="159" actId="1076"/>
          <ac:picMkLst>
            <pc:docMk/>
            <pc:sldMk cId="3070204084" sldId="2147375609"/>
            <ac:picMk id="8" creationId="{468AB8B2-F19A-0ABE-6303-B14724635964}"/>
          </ac:picMkLst>
        </pc:picChg>
      </pc:sldChg>
      <pc:sldChg chg="modSp mod">
        <pc:chgData name="Dhruw, Kabir SBOBNG-PTIV/LC" userId="b937d6d8-898d-4cbe-9fd6-c82dbbaafd5f" providerId="ADAL" clId="{C8C2C6EA-4625-4B71-8B36-BA8B2EA63D0C}" dt="2024-09-19T09:56:37.680" v="293" actId="20577"/>
        <pc:sldMkLst>
          <pc:docMk/>
          <pc:sldMk cId="3754613224" sldId="2147375611"/>
        </pc:sldMkLst>
        <pc:spChg chg="mod">
          <ac:chgData name="Dhruw, Kabir SBOBNG-PTIV/LC" userId="b937d6d8-898d-4cbe-9fd6-c82dbbaafd5f" providerId="ADAL" clId="{C8C2C6EA-4625-4B71-8B36-BA8B2EA63D0C}" dt="2024-09-19T09:56:37.680" v="293" actId="20577"/>
          <ac:spMkLst>
            <pc:docMk/>
            <pc:sldMk cId="3754613224" sldId="2147375611"/>
            <ac:spMk id="18" creationId="{6C73795A-BE20-7075-E9C6-6F145CE60794}"/>
          </ac:spMkLst>
        </pc:spChg>
      </pc:sldChg>
      <pc:sldChg chg="addSp delSp modSp mod">
        <pc:chgData name="Dhruw, Kabir SBOBNG-PTIV/LC" userId="b937d6d8-898d-4cbe-9fd6-c82dbbaafd5f" providerId="ADAL" clId="{C8C2C6EA-4625-4B71-8B36-BA8B2EA63D0C}" dt="2024-09-19T10:02:29.126" v="303" actId="962"/>
        <pc:sldMkLst>
          <pc:docMk/>
          <pc:sldMk cId="1148838763" sldId="2147375613"/>
        </pc:sldMkLst>
        <pc:spChg chg="mod">
          <ac:chgData name="Dhruw, Kabir SBOBNG-PTIV/LC" userId="b937d6d8-898d-4cbe-9fd6-c82dbbaafd5f" providerId="ADAL" clId="{C8C2C6EA-4625-4B71-8B36-BA8B2EA63D0C}" dt="2024-09-19T10:02:29.126" v="303" actId="962"/>
          <ac:spMkLst>
            <pc:docMk/>
            <pc:sldMk cId="1148838763" sldId="2147375613"/>
            <ac:spMk id="3" creationId="{CEA128C4-A0BC-A895-713C-306E7FF62894}"/>
          </ac:spMkLst>
        </pc:spChg>
        <pc:picChg chg="del">
          <ac:chgData name="Dhruw, Kabir SBOBNG-PTIV/LC" userId="b937d6d8-898d-4cbe-9fd6-c82dbbaafd5f" providerId="ADAL" clId="{C8C2C6EA-4625-4B71-8B36-BA8B2EA63D0C}" dt="2024-09-19T10:02:10.966" v="298" actId="478"/>
          <ac:picMkLst>
            <pc:docMk/>
            <pc:sldMk cId="1148838763" sldId="2147375613"/>
            <ac:picMk id="6" creationId="{A63B6D08-5F93-98B5-80F1-6140288BD14C}"/>
          </ac:picMkLst>
        </pc:picChg>
        <pc:picChg chg="add mod">
          <ac:chgData name="Dhruw, Kabir SBOBNG-PTIV/LC" userId="b937d6d8-898d-4cbe-9fd6-c82dbbaafd5f" providerId="ADAL" clId="{C8C2C6EA-4625-4B71-8B36-BA8B2EA63D0C}" dt="2024-09-19T10:02:29.126" v="302" actId="27614"/>
          <ac:picMkLst>
            <pc:docMk/>
            <pc:sldMk cId="1148838763" sldId="2147375613"/>
            <ac:picMk id="8" creationId="{EA9284A6-C633-BDFB-A069-95AC44AEBB2E}"/>
          </ac:picMkLst>
        </pc:picChg>
      </pc:sldChg>
      <pc:sldChg chg="modSp mod">
        <pc:chgData name="Dhruw, Kabir SBOBNG-PTIV/LC" userId="b937d6d8-898d-4cbe-9fd6-c82dbbaafd5f" providerId="ADAL" clId="{C8C2C6EA-4625-4B71-8B36-BA8B2EA63D0C}" dt="2024-09-19T09:59:37.990" v="297" actId="20577"/>
        <pc:sldMkLst>
          <pc:docMk/>
          <pc:sldMk cId="3865850111" sldId="2147375614"/>
        </pc:sldMkLst>
        <pc:spChg chg="mod">
          <ac:chgData name="Dhruw, Kabir SBOBNG-PTIV/LC" userId="b937d6d8-898d-4cbe-9fd6-c82dbbaafd5f" providerId="ADAL" clId="{C8C2C6EA-4625-4B71-8B36-BA8B2EA63D0C}" dt="2024-09-19T09:59:37.990" v="297" actId="20577"/>
          <ac:spMkLst>
            <pc:docMk/>
            <pc:sldMk cId="3865850111" sldId="2147375614"/>
            <ac:spMk id="6" creationId="{AC2F88D2-81D4-FAD4-568E-A3F495B0641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9/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9/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Kabir Dhruw</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19-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800" b="0" i="0" dirty="0">
                <a:solidFill>
                  <a:srgbClr val="111111"/>
                </a:solidFill>
                <a:effectLst/>
                <a:latin typeface="-apple-system"/>
              </a:rPr>
              <a:t>Implementing Prometheus and Grafana in our organization can significantly enhance our monitoring and observability capabilities. Prometheus allows us to collect detailed metrics from our systems, providing valuable insights into performance and resource utilization.</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158753A3-4F57-9061-9FF6-0CDA3BF901E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39068" y="2519680"/>
            <a:ext cx="5274168" cy="2966719"/>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0" i="0" dirty="0">
                <a:solidFill>
                  <a:srgbClr val="111111"/>
                </a:solidFill>
                <a:effectLst/>
                <a:latin typeface="-apple-system"/>
              </a:rPr>
              <a:t> Debugging containerized applications, especially with network configurations and data persistence, proved to be tricky. Additionally, ensuring the security of Docker containers and images required learning best practices, and managing resources effectively within containers was essential to avoid performance bottlenecks.</a:t>
            </a:r>
            <a:endParaRPr lang="en-US"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descr="A diagram of a docker host&#10;&#10;Description automatically generated">
            <a:extLst>
              <a:ext uri="{FF2B5EF4-FFF2-40B4-BE49-F238E27FC236}">
                <a16:creationId xmlns:a16="http://schemas.microsoft.com/office/drawing/2014/main" id="{5AC43CEB-CECF-B149-ABCC-54771E0F7F3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37752" y="2306057"/>
            <a:ext cx="4876799" cy="3186112"/>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800" b="0" i="0" dirty="0">
                <a:solidFill>
                  <a:srgbClr val="111111"/>
                </a:solidFill>
                <a:effectLst/>
                <a:latin typeface="-apple-system"/>
              </a:rPr>
              <a:t>Managing and configuring clusters, especially in a production environment, required a deep understanding of networking and storage solutions. Debugging issues within a Kubernetes cluster, such as pod failures and network connectivity problems, proved to be intricate.</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descr="A diagram of a wheel&#10;&#10;Description automatically generated">
            <a:extLst>
              <a:ext uri="{FF2B5EF4-FFF2-40B4-BE49-F238E27FC236}">
                <a16:creationId xmlns:a16="http://schemas.microsoft.com/office/drawing/2014/main" id="{653618B6-015D-F712-B13C-390CA4A2167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18727" y="2066075"/>
            <a:ext cx="4514850" cy="3533775"/>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0" i="0" dirty="0">
                <a:solidFill>
                  <a:srgbClr val="111111"/>
                </a:solidFill>
                <a:effectLst/>
                <a:latin typeface="-apple-system"/>
              </a:rPr>
              <a:t>Creating effective and meaningful dashboards in Grafana involved understanding the various visualization options and how to best represent the collected data. Ensuring the security and scalability of the monitoring setup also posed challenges, requiring careful planning and implementation of best practice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468AB8B2-F19A-0ABE-6303-B1472463596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74534" y="2692399"/>
            <a:ext cx="5003235" cy="2814319"/>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pend some more time with different types of docker containerization projects and different types of k8 architectur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his task need constant practice</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Already started learning</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2000" dirty="0"/>
              <a:t>The frequency of hands-on is increased from the previous classes, I feel more motivated to attend the sessions </a:t>
            </a:r>
            <a:r>
              <a:rPr lang="en-US" sz="2000"/>
              <a:t>now.</a:t>
            </a:r>
            <a:endParaRPr lang="en-US" sz="2000" dirty="0"/>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 name="Picture 7" descr="A group of people in a room&#10;&#10;Description automatically generated">
            <a:extLst>
              <a:ext uri="{FF2B5EF4-FFF2-40B4-BE49-F238E27FC236}">
                <a16:creationId xmlns:a16="http://schemas.microsoft.com/office/drawing/2014/main" id="{EA9284A6-C633-BDFB-A069-95AC44AEBB2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86673" y="2359828"/>
            <a:ext cx="4378960" cy="328422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pPr>
            <a:r>
              <a:rPr lang="en-GB" sz="2400" b="0" i="0" dirty="0">
                <a:solidFill>
                  <a:srgbClr val="111111"/>
                </a:solidFill>
                <a:effectLst/>
                <a:latin typeface="-apple-system"/>
              </a:rPr>
              <a:t>I learned about Docker for containerization, Kubernetes for orchestration, and Prometheus with Grafana for monitoring. </a:t>
            </a:r>
          </a:p>
          <a:p>
            <a:pPr marL="457200" indent="-457200">
              <a:lnSpc>
                <a:spcPct val="100000"/>
              </a:lnSpc>
            </a:pPr>
            <a:r>
              <a:rPr lang="en-GB" sz="2400" b="0" i="0" dirty="0">
                <a:solidFill>
                  <a:srgbClr val="111111"/>
                </a:solidFill>
                <a:effectLst/>
                <a:latin typeface="-apple-system"/>
              </a:rPr>
              <a:t>These tools enhance efficiency by streamlining development and deployment, improve scalability through robust orchestration, and boost observability with detailed metrics and insightful dashboards. </a:t>
            </a:r>
          </a:p>
          <a:p>
            <a:pPr marL="457200" indent="-457200">
              <a:lnSpc>
                <a:spcPct val="100000"/>
              </a:lnSpc>
            </a:pPr>
            <a:r>
              <a:rPr lang="en-GB" sz="2400" b="0" i="0" dirty="0">
                <a:solidFill>
                  <a:srgbClr val="111111"/>
                </a:solidFill>
                <a:effectLst/>
                <a:latin typeface="-apple-system"/>
              </a:rPr>
              <a:t>Despite the challenges of complex configurations and ensuring security, they offer significant benefits, making IT infrastructure more resilient and responsive.</a:t>
            </a:r>
            <a:endParaRPr lang="en-US"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Chase excellence, Not perfection.</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group of people putting their hands together&#10;&#10;Description automatically generated">
            <a:extLst>
              <a:ext uri="{FF2B5EF4-FFF2-40B4-BE49-F238E27FC236}">
                <a16:creationId xmlns:a16="http://schemas.microsoft.com/office/drawing/2014/main" id="{4A3D4E05-3D4B-8744-B7E9-1D94B9A478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94940" y="2536358"/>
            <a:ext cx="4162425" cy="266700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b="0" i="0" dirty="0">
                <a:solidFill>
                  <a:srgbClr val="111111"/>
                </a:solidFill>
                <a:effectLst/>
                <a:latin typeface="-apple-system"/>
              </a:rPr>
              <a:t>During the training, I gained a comprehensive understanding of Docker, including its architecture and core components like Docker Engine, Docker Hub, and Docker Compose. </a:t>
            </a:r>
          </a:p>
          <a:p>
            <a:r>
              <a:rPr lang="en-GB" sz="2400" b="0" i="0" dirty="0">
                <a:solidFill>
                  <a:srgbClr val="111111"/>
                </a:solidFill>
                <a:effectLst/>
                <a:latin typeface="-apple-system"/>
              </a:rPr>
              <a:t>I learned how to create, manage, and deploy containers, and the benefits of containerization over traditional virtual machines.</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screenshot of a computer&#10;&#10;Description automatically generated">
            <a:extLst>
              <a:ext uri="{FF2B5EF4-FFF2-40B4-BE49-F238E27FC236}">
                <a16:creationId xmlns:a16="http://schemas.microsoft.com/office/drawing/2014/main" id="{C27B2D86-D7BB-AC72-E3C4-4AD7F45F1DC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47441" y="2476713"/>
            <a:ext cx="5057421" cy="2844799"/>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b="0" i="0" dirty="0">
                <a:solidFill>
                  <a:srgbClr val="111111"/>
                </a:solidFill>
                <a:effectLst/>
                <a:latin typeface="-apple-system"/>
              </a:rPr>
              <a:t>I learned how to deploy, manage, and scale containerized applications using Kubernetes. </a:t>
            </a:r>
          </a:p>
          <a:p>
            <a:r>
              <a:rPr lang="en-GB" sz="2800" b="0" i="0" dirty="0">
                <a:solidFill>
                  <a:srgbClr val="111111"/>
                </a:solidFill>
                <a:effectLst/>
                <a:latin typeface="-apple-system"/>
              </a:rPr>
              <a:t>The training also covered essential concepts like services, deployments, and stateful sets, as well as advanced topics like networking, storage, and security within Kubernetes environments.</a:t>
            </a:r>
            <a:endParaRPr lang="en-GB" sz="2400" b="0" i="0" dirty="0">
              <a:solidFill>
                <a:srgbClr val="111111"/>
              </a:solidFill>
              <a:effectLst/>
              <a:latin typeface="-apple-system"/>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descr="A screenshot of a computer&#10;&#10;Description automatically generated">
            <a:extLst>
              <a:ext uri="{FF2B5EF4-FFF2-40B4-BE49-F238E27FC236}">
                <a16:creationId xmlns:a16="http://schemas.microsoft.com/office/drawing/2014/main" id="{65DDA6C2-2480-5605-02C4-B9ACB5ECA2D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46312" y="2620009"/>
            <a:ext cx="5059680" cy="2846070"/>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b="0" i="0" dirty="0">
                <a:solidFill>
                  <a:srgbClr val="111111"/>
                </a:solidFill>
                <a:effectLst/>
                <a:latin typeface="-apple-system"/>
              </a:rPr>
              <a:t> I explored how to set up Prometheus, configure it to scrape metrics.</a:t>
            </a:r>
          </a:p>
          <a:p>
            <a:r>
              <a:rPr lang="en-GB" sz="2400" b="0" i="0" dirty="0">
                <a:solidFill>
                  <a:srgbClr val="111111"/>
                </a:solidFill>
                <a:effectLst/>
                <a:latin typeface="-apple-system"/>
              </a:rPr>
              <a:t>Grafana, on the other hand, is a visualization tool that integrates seamlessly with Prometheus to create interactive and insightful dashboards. </a:t>
            </a:r>
          </a:p>
          <a:p>
            <a:r>
              <a:rPr lang="en-GB" sz="2400" b="0" i="0" dirty="0">
                <a:solidFill>
                  <a:srgbClr val="111111"/>
                </a:solidFill>
                <a:effectLst/>
                <a:latin typeface="-apple-system"/>
              </a:rPr>
              <a:t>I learned how to build and customize dashboards in Grafana to visualize the metrics collected by Prometheus.</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screenshot of a computer&#10;&#10;Description automatically generated">
            <a:extLst>
              <a:ext uri="{FF2B5EF4-FFF2-40B4-BE49-F238E27FC236}">
                <a16:creationId xmlns:a16="http://schemas.microsoft.com/office/drawing/2014/main" id="{AD5E0326-6A7E-FE7F-820E-DB89C1C1B47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62872" y="2783839"/>
            <a:ext cx="4226560" cy="2377440"/>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b="0" i="0" dirty="0">
                <a:solidFill>
                  <a:srgbClr val="111111"/>
                </a:solidFill>
                <a:effectLst/>
                <a:latin typeface="-apple-system"/>
              </a:rPr>
              <a:t>Implementing Docker in our organization can significantly enhance efficiency by streamlining the development and deployment processes. Docker ensures consistency across different environments, reducing the common “it works on my machine” issue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descr="A diagram of a software development&#10;&#10;Description automatically generated with medium confidence">
            <a:extLst>
              <a:ext uri="{FF2B5EF4-FFF2-40B4-BE49-F238E27FC236}">
                <a16:creationId xmlns:a16="http://schemas.microsoft.com/office/drawing/2014/main" id="{82CE5116-350A-E975-604E-CF1848233CE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18727" y="2423795"/>
            <a:ext cx="4514850" cy="2762250"/>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800" b="0" i="0" dirty="0">
                <a:solidFill>
                  <a:srgbClr val="111111"/>
                </a:solidFill>
                <a:effectLst/>
                <a:latin typeface="-apple-system"/>
              </a:rPr>
              <a:t>Kubernetes can greatly benefit our organization by providing robust orchestration for our containerized applications. It ensures high availability and scalability, allowing us to handle varying workloads efficiently. Kubernetes also offers automated rollouts and rollbacks, which can enhance our deployment processes and reduce downtime.</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descr="A diagram of a company&#10;&#10;Description automatically generated">
            <a:extLst>
              <a:ext uri="{FF2B5EF4-FFF2-40B4-BE49-F238E27FC236}">
                <a16:creationId xmlns:a16="http://schemas.microsoft.com/office/drawing/2014/main" id="{71E61D37-167C-2F80-DD30-7C9C4142146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98712" y="2561803"/>
            <a:ext cx="4754880" cy="2674620"/>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912</TotalTime>
  <Words>639</Words>
  <Application>Microsoft Office PowerPoint</Application>
  <PresentationFormat>Widescreen</PresentationFormat>
  <Paragraphs>59</Paragraphs>
  <Slides>2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pple-system</vt:lpstr>
      <vt:lpstr>Arial</vt:lpstr>
      <vt:lpstr>Calibri</vt:lpstr>
      <vt:lpstr>Office Theme</vt:lpstr>
      <vt:lpstr>think-cell Slide</vt:lpstr>
      <vt:lpstr>PowerPoint Presentation</vt:lpstr>
      <vt:lpstr>About Me</vt:lpstr>
      <vt:lpstr>PowerPoint Presentation</vt:lpstr>
      <vt:lpstr>Learning 1 |</vt:lpstr>
      <vt:lpstr>Learning 2 |</vt:lpstr>
      <vt:lpstr>Learning 3 |</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Dhruw, Kabir SBOBNG-PTIV/LC</cp:lastModifiedBy>
  <cp:revision>501</cp:revision>
  <dcterms:created xsi:type="dcterms:W3CDTF">2022-01-18T12:35:56Z</dcterms:created>
  <dcterms:modified xsi:type="dcterms:W3CDTF">2024-09-19T10:0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